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4047" r:id="rId5"/>
    <p:sldMasterId id="2147484081" r:id="rId6"/>
  </p:sldMasterIdLst>
  <p:notesMasterIdLst>
    <p:notesMasterId r:id="rId17"/>
  </p:notesMasterIdLst>
  <p:handoutMasterIdLst>
    <p:handoutMasterId r:id="rId18"/>
  </p:handoutMasterIdLst>
  <p:sldIdLst>
    <p:sldId id="4027" r:id="rId7"/>
    <p:sldId id="4015" r:id="rId8"/>
    <p:sldId id="4032" r:id="rId9"/>
    <p:sldId id="4031" r:id="rId10"/>
    <p:sldId id="452" r:id="rId11"/>
    <p:sldId id="4035" r:id="rId12"/>
    <p:sldId id="4030" r:id="rId13"/>
    <p:sldId id="4018" r:id="rId14"/>
    <p:sldId id="4029" r:id="rId15"/>
    <p:sldId id="4028" r:id="rId16"/>
  </p:sldIdLst>
  <p:sldSz cx="12192000" cy="6858000"/>
  <p:notesSz cx="6805613" cy="9939338"/>
  <p:custDataLst>
    <p:tags r:id="rId19"/>
  </p:custDataLst>
  <p:defaultTextStyle>
    <a:defPPr>
      <a:defRPr lang="de-DE"/>
    </a:defPPr>
    <a:lvl1pPr marL="0" algn="l" defTabSz="709520" rtl="0" eaLnBrk="1" latinLnBrk="0" hangingPunct="1">
      <a:defRPr sz="1391" kern="1200">
        <a:solidFill>
          <a:schemeClr val="tx1"/>
        </a:solidFill>
        <a:latin typeface="+mn-lt"/>
        <a:ea typeface="+mn-ea"/>
        <a:cs typeface="+mn-cs"/>
      </a:defRPr>
    </a:lvl1pPr>
    <a:lvl2pPr marL="354760" algn="l" defTabSz="709520" rtl="0" eaLnBrk="1" latinLnBrk="0" hangingPunct="1">
      <a:defRPr sz="1391" kern="1200">
        <a:solidFill>
          <a:schemeClr val="tx1"/>
        </a:solidFill>
        <a:latin typeface="+mn-lt"/>
        <a:ea typeface="+mn-ea"/>
        <a:cs typeface="+mn-cs"/>
      </a:defRPr>
    </a:lvl2pPr>
    <a:lvl3pPr marL="709520" algn="l" defTabSz="709520" rtl="0" eaLnBrk="1" latinLnBrk="0" hangingPunct="1">
      <a:defRPr sz="1391" kern="1200">
        <a:solidFill>
          <a:schemeClr val="tx1"/>
        </a:solidFill>
        <a:latin typeface="+mn-lt"/>
        <a:ea typeface="+mn-ea"/>
        <a:cs typeface="+mn-cs"/>
      </a:defRPr>
    </a:lvl3pPr>
    <a:lvl4pPr marL="1064279" algn="l" defTabSz="709520" rtl="0" eaLnBrk="1" latinLnBrk="0" hangingPunct="1">
      <a:defRPr sz="1391" kern="1200">
        <a:solidFill>
          <a:schemeClr val="tx1"/>
        </a:solidFill>
        <a:latin typeface="+mn-lt"/>
        <a:ea typeface="+mn-ea"/>
        <a:cs typeface="+mn-cs"/>
      </a:defRPr>
    </a:lvl4pPr>
    <a:lvl5pPr marL="1419039" algn="l" defTabSz="709520" rtl="0" eaLnBrk="1" latinLnBrk="0" hangingPunct="1">
      <a:defRPr sz="1391" kern="1200">
        <a:solidFill>
          <a:schemeClr val="tx1"/>
        </a:solidFill>
        <a:latin typeface="+mn-lt"/>
        <a:ea typeface="+mn-ea"/>
        <a:cs typeface="+mn-cs"/>
      </a:defRPr>
    </a:lvl5pPr>
    <a:lvl6pPr marL="1773798" algn="l" defTabSz="709520" rtl="0" eaLnBrk="1" latinLnBrk="0" hangingPunct="1">
      <a:defRPr sz="1391" kern="1200">
        <a:solidFill>
          <a:schemeClr val="tx1"/>
        </a:solidFill>
        <a:latin typeface="+mn-lt"/>
        <a:ea typeface="+mn-ea"/>
        <a:cs typeface="+mn-cs"/>
      </a:defRPr>
    </a:lvl6pPr>
    <a:lvl7pPr marL="2128557" algn="l" defTabSz="709520" rtl="0" eaLnBrk="1" latinLnBrk="0" hangingPunct="1">
      <a:defRPr sz="1391" kern="1200">
        <a:solidFill>
          <a:schemeClr val="tx1"/>
        </a:solidFill>
        <a:latin typeface="+mn-lt"/>
        <a:ea typeface="+mn-ea"/>
        <a:cs typeface="+mn-cs"/>
      </a:defRPr>
    </a:lvl7pPr>
    <a:lvl8pPr marL="2483317" algn="l" defTabSz="709520" rtl="0" eaLnBrk="1" latinLnBrk="0" hangingPunct="1">
      <a:defRPr sz="1391" kern="1200">
        <a:solidFill>
          <a:schemeClr val="tx1"/>
        </a:solidFill>
        <a:latin typeface="+mn-lt"/>
        <a:ea typeface="+mn-ea"/>
        <a:cs typeface="+mn-cs"/>
      </a:defRPr>
    </a:lvl8pPr>
    <a:lvl9pPr marL="2838078" algn="l" defTabSz="709520" rtl="0" eaLnBrk="1" latinLnBrk="0" hangingPunct="1">
      <a:defRPr sz="1391"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16" userDrawn="1">
          <p15:clr>
            <a:srgbClr val="A4A3A4"/>
          </p15:clr>
        </p15:guide>
        <p15:guide id="2" pos="3200" userDrawn="1">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vid Williams" initials="DBW" lastIdx="3" clrIdx="0"/>
  <p:cmAuthor id="1" name="Ezlakowski, Mat" initials="EM" lastIdx="1" clrIdx="1">
    <p:extLst>
      <p:ext uri="{19B8F6BF-5375-455C-9EA6-DF929625EA0E}">
        <p15:presenceInfo xmlns:p15="http://schemas.microsoft.com/office/powerpoint/2012/main" userId="S-1-5-21-1531082355-734649621-3782574898-1605275" providerId="AD"/>
      </p:ext>
    </p:extLst>
  </p:cmAuthor>
  <p:cmAuthor id="2" name="Rao, Vinay" initials="RV" lastIdx="34" clrIdx="2">
    <p:extLst>
      <p:ext uri="{19B8F6BF-5375-455C-9EA6-DF929625EA0E}">
        <p15:presenceInfo xmlns:p15="http://schemas.microsoft.com/office/powerpoint/2012/main" userId="S-1-5-21-1531082355-734649621-3782574898-22876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E3"/>
    <a:srgbClr val="0075B3"/>
    <a:srgbClr val="F9BE01"/>
    <a:srgbClr val="EE7713"/>
    <a:srgbClr val="981E32"/>
    <a:srgbClr val="FF66FF"/>
    <a:srgbClr val="EDEDED"/>
    <a:srgbClr val="F6DEE0"/>
    <a:srgbClr val="AF1C63"/>
    <a:srgbClr val="8EC6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2B9D378-C1C0-4356-B297-E576C92EE876}" v="5" dt="2024-07-12T12:27:42.6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659" autoAdjust="0"/>
    <p:restoredTop sz="96416" autoAdjust="0"/>
  </p:normalViewPr>
  <p:slideViewPr>
    <p:cSldViewPr snapToGrid="0" snapToObjects="1">
      <p:cViewPr varScale="1">
        <p:scale>
          <a:sx n="66" d="100"/>
          <a:sy n="66" d="100"/>
        </p:scale>
        <p:origin x="568" y="32"/>
      </p:cViewPr>
      <p:guideLst>
        <p:guide orient="horz" pos="4016"/>
        <p:guide pos="3200"/>
      </p:guideLst>
    </p:cSldViewPr>
  </p:slideViewPr>
  <p:notesTextViewPr>
    <p:cViewPr>
      <p:scale>
        <a:sx n="100" d="100"/>
        <a:sy n="100" d="100"/>
      </p:scale>
      <p:origin x="0" y="0"/>
    </p:cViewPr>
  </p:notesTextViewPr>
  <p:sorterViewPr>
    <p:cViewPr>
      <p:scale>
        <a:sx n="47" d="100"/>
        <a:sy n="47" d="100"/>
      </p:scale>
      <p:origin x="0" y="0"/>
    </p:cViewPr>
  </p:sorterViewPr>
  <p:notesViewPr>
    <p:cSldViewPr snapToGrid="0" snapToObjects="1">
      <p:cViewPr varScale="1">
        <p:scale>
          <a:sx n="71" d="100"/>
          <a:sy n="71" d="100"/>
        </p:scale>
        <p:origin x="-3372" y="-120"/>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 Kiruthika" userId="b07ff3e6-78a1-4c79-b7aa-078d09442280" providerId="ADAL" clId="{F2B9D378-C1C0-4356-B297-E576C92EE876}"/>
    <pc:docChg chg="undo custSel addSld delSld modSld">
      <pc:chgData name="P, Kiruthika" userId="b07ff3e6-78a1-4c79-b7aa-078d09442280" providerId="ADAL" clId="{F2B9D378-C1C0-4356-B297-E576C92EE876}" dt="2024-07-12T12:27:48.818" v="390" actId="2696"/>
      <pc:docMkLst>
        <pc:docMk/>
      </pc:docMkLst>
      <pc:sldChg chg="add">
        <pc:chgData name="P, Kiruthika" userId="b07ff3e6-78a1-4c79-b7aa-078d09442280" providerId="ADAL" clId="{F2B9D378-C1C0-4356-B297-E576C92EE876}" dt="2024-07-12T12:27:42.595" v="389"/>
        <pc:sldMkLst>
          <pc:docMk/>
          <pc:sldMk cId="2916779858" sldId="452"/>
        </pc:sldMkLst>
      </pc:sldChg>
      <pc:sldChg chg="modSp mod">
        <pc:chgData name="P, Kiruthika" userId="b07ff3e6-78a1-4c79-b7aa-078d09442280" providerId="ADAL" clId="{F2B9D378-C1C0-4356-B297-E576C92EE876}" dt="2024-07-12T09:52:51.298" v="18" actId="20577"/>
        <pc:sldMkLst>
          <pc:docMk/>
          <pc:sldMk cId="2276424121" sldId="4015"/>
        </pc:sldMkLst>
        <pc:spChg chg="mod">
          <ac:chgData name="P, Kiruthika" userId="b07ff3e6-78a1-4c79-b7aa-078d09442280" providerId="ADAL" clId="{F2B9D378-C1C0-4356-B297-E576C92EE876}" dt="2024-07-12T09:52:51.298" v="18" actId="20577"/>
          <ac:spMkLst>
            <pc:docMk/>
            <pc:sldMk cId="2276424121" sldId="4015"/>
            <ac:spMk id="4" creationId="{00000000-0000-0000-0000-000000000000}"/>
          </ac:spMkLst>
        </pc:spChg>
      </pc:sldChg>
      <pc:sldChg chg="addSp delSp modSp mod">
        <pc:chgData name="P, Kiruthika" userId="b07ff3e6-78a1-4c79-b7aa-078d09442280" providerId="ADAL" clId="{F2B9D378-C1C0-4356-B297-E576C92EE876}" dt="2024-07-12T12:26:27.110" v="388" actId="20577"/>
        <pc:sldMkLst>
          <pc:docMk/>
          <pc:sldMk cId="824663651" sldId="4031"/>
        </pc:sldMkLst>
        <pc:spChg chg="mod">
          <ac:chgData name="P, Kiruthika" userId="b07ff3e6-78a1-4c79-b7aa-078d09442280" providerId="ADAL" clId="{F2B9D378-C1C0-4356-B297-E576C92EE876}" dt="2024-07-12T12:13:34.194" v="262" actId="20577"/>
          <ac:spMkLst>
            <pc:docMk/>
            <pc:sldMk cId="824663651" sldId="4031"/>
            <ac:spMk id="2" creationId="{C7D33EB5-82BB-76AE-D689-993C59695760}"/>
          </ac:spMkLst>
        </pc:spChg>
        <pc:spChg chg="mod">
          <ac:chgData name="P, Kiruthika" userId="b07ff3e6-78a1-4c79-b7aa-078d09442280" providerId="ADAL" clId="{F2B9D378-C1C0-4356-B297-E576C92EE876}" dt="2024-07-12T12:26:27.110" v="388" actId="20577"/>
          <ac:spMkLst>
            <pc:docMk/>
            <pc:sldMk cId="824663651" sldId="4031"/>
            <ac:spMk id="8" creationId="{7303BA0C-EB86-BB20-7746-340BF1CE3ECA}"/>
          </ac:spMkLst>
        </pc:spChg>
        <pc:spChg chg="add mod">
          <ac:chgData name="P, Kiruthika" userId="b07ff3e6-78a1-4c79-b7aa-078d09442280" providerId="ADAL" clId="{F2B9D378-C1C0-4356-B297-E576C92EE876}" dt="2024-07-12T12:24:02.887" v="273" actId="1076"/>
          <ac:spMkLst>
            <pc:docMk/>
            <pc:sldMk cId="824663651" sldId="4031"/>
            <ac:spMk id="10" creationId="{B9B7DDB1-1B0C-DE47-A3FC-BBC4E2E492AC}"/>
          </ac:spMkLst>
        </pc:spChg>
        <pc:spChg chg="add del mod">
          <ac:chgData name="P, Kiruthika" userId="b07ff3e6-78a1-4c79-b7aa-078d09442280" providerId="ADAL" clId="{F2B9D378-C1C0-4356-B297-E576C92EE876}" dt="2024-07-12T12:24:29.627" v="277" actId="478"/>
          <ac:spMkLst>
            <pc:docMk/>
            <pc:sldMk cId="824663651" sldId="4031"/>
            <ac:spMk id="11" creationId="{5958A5B9-3A73-3325-670A-951B3566A3CC}"/>
          </ac:spMkLst>
        </pc:spChg>
        <pc:spChg chg="add mod">
          <ac:chgData name="P, Kiruthika" userId="b07ff3e6-78a1-4c79-b7aa-078d09442280" providerId="ADAL" clId="{F2B9D378-C1C0-4356-B297-E576C92EE876}" dt="2024-07-12T12:25:04.133" v="282" actId="1076"/>
          <ac:spMkLst>
            <pc:docMk/>
            <pc:sldMk cId="824663651" sldId="4031"/>
            <ac:spMk id="12" creationId="{12C22833-F541-FD81-A2A0-06B013DCD2DB}"/>
          </ac:spMkLst>
        </pc:spChg>
        <pc:picChg chg="del">
          <ac:chgData name="P, Kiruthika" userId="b07ff3e6-78a1-4c79-b7aa-078d09442280" providerId="ADAL" clId="{F2B9D378-C1C0-4356-B297-E576C92EE876}" dt="2024-07-12T12:22:44.796" v="265" actId="478"/>
          <ac:picMkLst>
            <pc:docMk/>
            <pc:sldMk cId="824663651" sldId="4031"/>
            <ac:picMk id="7" creationId="{34983453-DFFC-8BF7-60E1-A9BBA5C0A008}"/>
          </ac:picMkLst>
        </pc:picChg>
        <pc:picChg chg="add mod">
          <ac:chgData name="P, Kiruthika" userId="b07ff3e6-78a1-4c79-b7aa-078d09442280" providerId="ADAL" clId="{F2B9D378-C1C0-4356-B297-E576C92EE876}" dt="2024-07-12T12:23:08.966" v="269" actId="1076"/>
          <ac:picMkLst>
            <pc:docMk/>
            <pc:sldMk cId="824663651" sldId="4031"/>
            <ac:picMk id="9" creationId="{ACE7E47F-F316-3E9A-F29E-4114392F918F}"/>
          </ac:picMkLst>
        </pc:picChg>
        <pc:cxnChg chg="add del mod">
          <ac:chgData name="P, Kiruthika" userId="b07ff3e6-78a1-4c79-b7aa-078d09442280" providerId="ADAL" clId="{F2B9D378-C1C0-4356-B297-E576C92EE876}" dt="2024-07-12T12:22:43.533" v="264" actId="11529"/>
          <ac:cxnSpMkLst>
            <pc:docMk/>
            <pc:sldMk cId="824663651" sldId="4031"/>
            <ac:cxnSpMk id="4" creationId="{519570D4-05F2-19F8-8680-D219B082E74E}"/>
          </ac:cxnSpMkLst>
        </pc:cxnChg>
      </pc:sldChg>
      <pc:sldChg chg="modSp mod">
        <pc:chgData name="P, Kiruthika" userId="b07ff3e6-78a1-4c79-b7aa-078d09442280" providerId="ADAL" clId="{F2B9D378-C1C0-4356-B297-E576C92EE876}" dt="2024-07-12T12:13:06.560" v="256" actId="20577"/>
        <pc:sldMkLst>
          <pc:docMk/>
          <pc:sldMk cId="1202197363" sldId="4032"/>
        </pc:sldMkLst>
        <pc:spChg chg="mod">
          <ac:chgData name="P, Kiruthika" userId="b07ff3e6-78a1-4c79-b7aa-078d09442280" providerId="ADAL" clId="{F2B9D378-C1C0-4356-B297-E576C92EE876}" dt="2024-07-12T09:53:04.949" v="24" actId="20577"/>
          <ac:spMkLst>
            <pc:docMk/>
            <pc:sldMk cId="1202197363" sldId="4032"/>
            <ac:spMk id="2" creationId="{1B699330-A1AF-9220-D99B-17EA4AEE1798}"/>
          </ac:spMkLst>
        </pc:spChg>
        <pc:spChg chg="mod">
          <ac:chgData name="P, Kiruthika" userId="b07ff3e6-78a1-4c79-b7aa-078d09442280" providerId="ADAL" clId="{F2B9D378-C1C0-4356-B297-E576C92EE876}" dt="2024-07-12T12:13:06.560" v="256" actId="20577"/>
          <ac:spMkLst>
            <pc:docMk/>
            <pc:sldMk cId="1202197363" sldId="4032"/>
            <ac:spMk id="21" creationId="{3858D4BA-F276-4A1A-7F5E-FB51E6DDF4C2}"/>
          </ac:spMkLst>
        </pc:spChg>
        <pc:spChg chg="mod">
          <ac:chgData name="P, Kiruthika" userId="b07ff3e6-78a1-4c79-b7aa-078d09442280" providerId="ADAL" clId="{F2B9D378-C1C0-4356-B297-E576C92EE876}" dt="2024-07-12T12:11:28.921" v="164" actId="20577"/>
          <ac:spMkLst>
            <pc:docMk/>
            <pc:sldMk cId="1202197363" sldId="4032"/>
            <ac:spMk id="27" creationId="{5E2603E4-5229-0166-6B34-74D11C3329A9}"/>
          </ac:spMkLst>
        </pc:spChg>
        <pc:spChg chg="mod">
          <ac:chgData name="P, Kiruthika" userId="b07ff3e6-78a1-4c79-b7aa-078d09442280" providerId="ADAL" clId="{F2B9D378-C1C0-4356-B297-E576C92EE876}" dt="2024-07-12T12:12:46.939" v="246" actId="20577"/>
          <ac:spMkLst>
            <pc:docMk/>
            <pc:sldMk cId="1202197363" sldId="4032"/>
            <ac:spMk id="60" creationId="{94D85221-57AD-E73C-8955-A87440493F8B}"/>
          </ac:spMkLst>
        </pc:spChg>
        <pc:spChg chg="mod">
          <ac:chgData name="P, Kiruthika" userId="b07ff3e6-78a1-4c79-b7aa-078d09442280" providerId="ADAL" clId="{F2B9D378-C1C0-4356-B297-E576C92EE876}" dt="2024-07-12T12:11:51.228" v="175" actId="20577"/>
          <ac:spMkLst>
            <pc:docMk/>
            <pc:sldMk cId="1202197363" sldId="4032"/>
            <ac:spMk id="62" creationId="{34A9443A-F9DA-2AC2-EEFA-DEE5E7E7F986}"/>
          </ac:spMkLst>
        </pc:spChg>
        <pc:spChg chg="mod">
          <ac:chgData name="P, Kiruthika" userId="b07ff3e6-78a1-4c79-b7aa-078d09442280" providerId="ADAL" clId="{F2B9D378-C1C0-4356-B297-E576C92EE876}" dt="2024-07-12T12:11:17.054" v="152" actId="20577"/>
          <ac:spMkLst>
            <pc:docMk/>
            <pc:sldMk cId="1202197363" sldId="4032"/>
            <ac:spMk id="63" creationId="{B20E28D8-B1E5-0DD2-A864-AEC8F57C19E1}"/>
          </ac:spMkLst>
        </pc:spChg>
        <pc:spChg chg="mod">
          <ac:chgData name="P, Kiruthika" userId="b07ff3e6-78a1-4c79-b7aa-078d09442280" providerId="ADAL" clId="{F2B9D378-C1C0-4356-B297-E576C92EE876}" dt="2024-07-12T12:12:03.772" v="187" actId="20577"/>
          <ac:spMkLst>
            <pc:docMk/>
            <pc:sldMk cId="1202197363" sldId="4032"/>
            <ac:spMk id="64" creationId="{14D81038-87E3-5C91-1F45-4DD398511F79}"/>
          </ac:spMkLst>
        </pc:spChg>
      </pc:sldChg>
      <pc:sldChg chg="del">
        <pc:chgData name="P, Kiruthika" userId="b07ff3e6-78a1-4c79-b7aa-078d09442280" providerId="ADAL" clId="{F2B9D378-C1C0-4356-B297-E576C92EE876}" dt="2024-07-12T12:27:48.818" v="390" actId="2696"/>
        <pc:sldMkLst>
          <pc:docMk/>
          <pc:sldMk cId="640842644" sldId="4034"/>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2CA6F3C-A638-4ACA-8BF4-E7F81C789D3E}"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148E1D19-EECD-4EA1-8E68-B818CE0BF8C1}">
      <dgm:prSet phldrT="[Text]" custT="1"/>
      <dgm:spPr>
        <a:solidFill>
          <a:schemeClr val="tx2"/>
        </a:solidFill>
      </dgm:spPr>
      <dgm:t>
        <a:bodyPr/>
        <a:lstStyle/>
        <a:p>
          <a:r>
            <a:rPr lang="en-US" sz="1800" b="0" dirty="0">
              <a:latin typeface="Segoe UI" panose="020B0502040204020203" pitchFamily="34" charset="0"/>
              <a:cs typeface="Segoe UI" panose="020B0502040204020203" pitchFamily="34" charset="0"/>
            </a:rPr>
            <a:t>Driver</a:t>
          </a:r>
        </a:p>
      </dgm:t>
    </dgm:pt>
    <dgm:pt modelId="{7C81467B-FEDB-4CD2-904D-279ABE3D9896}" type="parTrans" cxnId="{07C1C7DE-B669-4B84-AF3E-787F32DB68DF}">
      <dgm:prSet/>
      <dgm:spPr/>
      <dgm:t>
        <a:bodyPr/>
        <a:lstStyle/>
        <a:p>
          <a:endParaRPr lang="en-US"/>
        </a:p>
      </dgm:t>
    </dgm:pt>
    <dgm:pt modelId="{62DA4C46-62BA-4783-A99B-A9ABBA0B9047}" type="sibTrans" cxnId="{07C1C7DE-B669-4B84-AF3E-787F32DB68DF}">
      <dgm:prSet/>
      <dgm:spPr/>
      <dgm:t>
        <a:bodyPr/>
        <a:lstStyle/>
        <a:p>
          <a:endParaRPr lang="en-US"/>
        </a:p>
      </dgm:t>
    </dgm:pt>
    <dgm:pt modelId="{66E986AE-18E9-4A1D-BF9E-22C86D9E4E5B}">
      <dgm:prSet phldrT="[Text]" custT="1"/>
      <dgm:spPr>
        <a:solidFill>
          <a:schemeClr val="tx2"/>
        </a:solidFill>
      </dgm:spPr>
      <dgm:t>
        <a:bodyPr/>
        <a:lstStyle/>
        <a:p>
          <a:r>
            <a:rPr lang="en-US" sz="1800" dirty="0"/>
            <a:t>Function Libraries</a:t>
          </a:r>
          <a:endParaRPr lang="en-US" sz="1800" b="1" dirty="0"/>
        </a:p>
      </dgm:t>
    </dgm:pt>
    <dgm:pt modelId="{8F7971C5-D599-4C73-8947-020EACC80F1D}" type="parTrans" cxnId="{F32D70A1-B635-45BB-A337-524306CD4743}">
      <dgm:prSet/>
      <dgm:spPr/>
      <dgm:t>
        <a:bodyPr/>
        <a:lstStyle/>
        <a:p>
          <a:endParaRPr lang="en-US"/>
        </a:p>
      </dgm:t>
    </dgm:pt>
    <dgm:pt modelId="{D5B374E1-52E8-4933-B9D6-E46AF1C78D90}" type="sibTrans" cxnId="{F32D70A1-B635-45BB-A337-524306CD4743}">
      <dgm:prSet/>
      <dgm:spPr/>
      <dgm:t>
        <a:bodyPr/>
        <a:lstStyle/>
        <a:p>
          <a:endParaRPr lang="en-US"/>
        </a:p>
      </dgm:t>
    </dgm:pt>
    <dgm:pt modelId="{17FE4961-6E30-49AF-90F7-66F10A1EA31E}">
      <dgm:prSet custT="1"/>
      <dgm:spPr>
        <a:solidFill>
          <a:schemeClr val="tx2"/>
        </a:solidFill>
      </dgm:spPr>
      <dgm:t>
        <a:bodyPr/>
        <a:lstStyle/>
        <a:p>
          <a:r>
            <a:rPr lang="en-US" sz="1800" dirty="0"/>
            <a:t>Test Data </a:t>
          </a:r>
          <a:endParaRPr lang="en-US" sz="1800" b="1" dirty="0"/>
        </a:p>
      </dgm:t>
    </dgm:pt>
    <dgm:pt modelId="{7EC8ADB7-6B9A-4467-AE27-3C1D25EF1732}" type="parTrans" cxnId="{0BDD46B7-E6BC-4E02-912B-65D274524600}">
      <dgm:prSet/>
      <dgm:spPr/>
      <dgm:t>
        <a:bodyPr/>
        <a:lstStyle/>
        <a:p>
          <a:endParaRPr lang="en-US"/>
        </a:p>
      </dgm:t>
    </dgm:pt>
    <dgm:pt modelId="{92009CC7-DA91-4794-AC6E-77F8E49B80F8}" type="sibTrans" cxnId="{0BDD46B7-E6BC-4E02-912B-65D274524600}">
      <dgm:prSet/>
      <dgm:spPr/>
      <dgm:t>
        <a:bodyPr/>
        <a:lstStyle/>
        <a:p>
          <a:endParaRPr lang="en-US"/>
        </a:p>
      </dgm:t>
    </dgm:pt>
    <dgm:pt modelId="{A3EEC8EF-FDAE-482E-BC2A-02292BFF60A2}">
      <dgm:prSet custT="1"/>
      <dgm:spPr>
        <a:solidFill>
          <a:schemeClr val="tx2"/>
        </a:solidFill>
      </dgm:spPr>
      <dgm:t>
        <a:bodyPr/>
        <a:lstStyle/>
        <a:p>
          <a:r>
            <a:rPr lang="en-US" sz="1800" dirty="0"/>
            <a:t>Test Results</a:t>
          </a:r>
          <a:endParaRPr lang="en-US" sz="1800" b="1" dirty="0"/>
        </a:p>
      </dgm:t>
    </dgm:pt>
    <dgm:pt modelId="{5097524F-234A-40BB-82B0-F5880DA0D9A7}" type="parTrans" cxnId="{D20270C8-FF1A-473B-98BC-2D3FB7C02E4F}">
      <dgm:prSet/>
      <dgm:spPr/>
      <dgm:t>
        <a:bodyPr/>
        <a:lstStyle/>
        <a:p>
          <a:endParaRPr lang="en-US"/>
        </a:p>
      </dgm:t>
    </dgm:pt>
    <dgm:pt modelId="{FC8E6406-8F4A-40A5-8295-F1B0C061EED0}" type="sibTrans" cxnId="{D20270C8-FF1A-473B-98BC-2D3FB7C02E4F}">
      <dgm:prSet/>
      <dgm:spPr/>
      <dgm:t>
        <a:bodyPr/>
        <a:lstStyle/>
        <a:p>
          <a:endParaRPr lang="en-US"/>
        </a:p>
      </dgm:t>
    </dgm:pt>
    <dgm:pt modelId="{49EA9C3A-51F5-4ECF-907A-7671339F877E}">
      <dgm:prSet custT="1"/>
      <dgm:spPr>
        <a:solidFill>
          <a:schemeClr val="bg1">
            <a:alpha val="90000"/>
          </a:schemeClr>
        </a:solidFill>
      </dgm:spPr>
      <dgm:t>
        <a:bodyPr/>
        <a:lstStyle/>
        <a:p>
          <a:r>
            <a:rPr lang="en-US" sz="1300" b="0" dirty="0">
              <a:solidFill>
                <a:schemeClr val="tx1"/>
              </a:solidFill>
              <a:effectLst/>
              <a:latin typeface="+mn-lt"/>
              <a:cs typeface="Segoe UI" panose="020B0502040204020203" pitchFamily="34" charset="0"/>
            </a:rPr>
            <a:t>Post execution html results will get saved in this folder.</a:t>
          </a:r>
        </a:p>
      </dgm:t>
    </dgm:pt>
    <dgm:pt modelId="{8A938C8D-3CE9-42AA-8D39-E38E54B78FE1}" type="parTrans" cxnId="{5BFF5DE3-ACC7-4926-8D58-0D8BDABCFEBF}">
      <dgm:prSet/>
      <dgm:spPr/>
      <dgm:t>
        <a:bodyPr/>
        <a:lstStyle/>
        <a:p>
          <a:endParaRPr lang="en-US"/>
        </a:p>
      </dgm:t>
    </dgm:pt>
    <dgm:pt modelId="{E43DDA88-34EE-4243-B789-90FAC81C7FC8}" type="sibTrans" cxnId="{5BFF5DE3-ACC7-4926-8D58-0D8BDABCFEBF}">
      <dgm:prSet/>
      <dgm:spPr/>
      <dgm:t>
        <a:bodyPr/>
        <a:lstStyle/>
        <a:p>
          <a:endParaRPr lang="en-US"/>
        </a:p>
      </dgm:t>
    </dgm:pt>
    <dgm:pt modelId="{E15DB954-6703-49E8-B907-11671D129D5A}">
      <dgm:prSet phldrT="[Text]" custT="1"/>
      <dgm:spPr>
        <a:solidFill>
          <a:schemeClr val="bg1">
            <a:alpha val="90000"/>
          </a:schemeClr>
        </a:solidFill>
      </dgm:spPr>
      <dgm:t>
        <a:bodyPr anchor="ctr"/>
        <a:lstStyle/>
        <a:p>
          <a:pPr algn="l"/>
          <a:r>
            <a:rPr lang="en-US" sz="1300" b="0" i="0" dirty="0">
              <a:solidFill>
                <a:srgbClr val="222222"/>
              </a:solidFill>
              <a:effectLst/>
            </a:rPr>
            <a:t>Contains a driver script to drive the entire execution. I t reads the execution flag from data excel and depends on the flag the testcase will get called one after the another. This script is responsible for loading the respective application libraries at the run time.</a:t>
          </a:r>
          <a:endParaRPr lang="en-US" sz="1300" b="0" dirty="0">
            <a:solidFill>
              <a:schemeClr val="tx2"/>
            </a:solidFill>
          </a:endParaRPr>
        </a:p>
      </dgm:t>
    </dgm:pt>
    <dgm:pt modelId="{3ADA5505-715F-4231-A399-044FF018B964}" type="parTrans" cxnId="{81F683AB-3806-4EBB-AD18-504F7BFF9DEC}">
      <dgm:prSet/>
      <dgm:spPr/>
      <dgm:t>
        <a:bodyPr/>
        <a:lstStyle/>
        <a:p>
          <a:endParaRPr lang="en-US"/>
        </a:p>
      </dgm:t>
    </dgm:pt>
    <dgm:pt modelId="{3925229F-75A5-4436-801C-6BBA50134350}" type="sibTrans" cxnId="{81F683AB-3806-4EBB-AD18-504F7BFF9DEC}">
      <dgm:prSet/>
      <dgm:spPr/>
      <dgm:t>
        <a:bodyPr/>
        <a:lstStyle/>
        <a:p>
          <a:endParaRPr lang="en-US"/>
        </a:p>
      </dgm:t>
    </dgm:pt>
    <dgm:pt modelId="{2A216ED8-E2E0-4FEC-8B2E-D96789ADD38F}">
      <dgm:prSet phldrT="[Text]" custT="1"/>
      <dgm:spPr>
        <a:solidFill>
          <a:schemeClr val="bg1">
            <a:alpha val="90000"/>
          </a:schemeClr>
        </a:solidFill>
      </dgm:spPr>
      <dgm:t>
        <a:bodyPr/>
        <a:lstStyle/>
        <a:p>
          <a:pPr algn="l">
            <a:buFont typeface="Arial" panose="020B0604020202020204" pitchFamily="34" charset="0"/>
            <a:buChar char="•"/>
          </a:pPr>
          <a:r>
            <a:rPr lang="en-US" sz="1300" b="0" i="0" dirty="0">
              <a:solidFill>
                <a:srgbClr val="222222"/>
              </a:solidFill>
              <a:effectLst/>
            </a:rPr>
            <a:t>This is the folder where all our framework related and application related reusable functions are written in .</a:t>
          </a:r>
          <a:r>
            <a:rPr lang="en-US" sz="1300" b="0" i="0" dirty="0" err="1">
              <a:solidFill>
                <a:srgbClr val="222222"/>
              </a:solidFill>
              <a:effectLst/>
            </a:rPr>
            <a:t>vbs</a:t>
          </a:r>
          <a:r>
            <a:rPr lang="en-US" sz="1300" b="0" i="0" dirty="0">
              <a:solidFill>
                <a:srgbClr val="222222"/>
              </a:solidFill>
              <a:effectLst/>
            </a:rPr>
            <a:t> / .</a:t>
          </a:r>
          <a:r>
            <a:rPr lang="en-US" sz="1300" b="0" i="0" dirty="0" err="1">
              <a:solidFill>
                <a:srgbClr val="222222"/>
              </a:solidFill>
              <a:effectLst/>
            </a:rPr>
            <a:t>qfl</a:t>
          </a:r>
          <a:r>
            <a:rPr lang="en-US" sz="1300" b="0" i="0" dirty="0">
              <a:solidFill>
                <a:srgbClr val="222222"/>
              </a:solidFill>
              <a:effectLst/>
            </a:rPr>
            <a:t> format .</a:t>
          </a:r>
          <a:endParaRPr lang="en-US" sz="1300" b="0" dirty="0">
            <a:solidFill>
              <a:schemeClr val="tx2"/>
            </a:solidFill>
            <a:effectLst/>
            <a:latin typeface="Segoe UI" panose="020B0502040204020203" pitchFamily="34" charset="0"/>
            <a:cs typeface="Segoe UI" panose="020B0502040204020203" pitchFamily="34" charset="0"/>
          </a:endParaRPr>
        </a:p>
      </dgm:t>
    </dgm:pt>
    <dgm:pt modelId="{11FA2169-D299-4C18-AEEF-99FE57B7C3BB}" type="parTrans" cxnId="{36989A80-E7E3-482C-AEAD-8EBE2E7C94E5}">
      <dgm:prSet/>
      <dgm:spPr/>
      <dgm:t>
        <a:bodyPr/>
        <a:lstStyle/>
        <a:p>
          <a:endParaRPr lang="en-US"/>
        </a:p>
      </dgm:t>
    </dgm:pt>
    <dgm:pt modelId="{E4B146F0-D0CF-48E1-A286-3ABE33DF7263}" type="sibTrans" cxnId="{36989A80-E7E3-482C-AEAD-8EBE2E7C94E5}">
      <dgm:prSet/>
      <dgm:spPr/>
      <dgm:t>
        <a:bodyPr/>
        <a:lstStyle/>
        <a:p>
          <a:endParaRPr lang="en-US"/>
        </a:p>
      </dgm:t>
    </dgm:pt>
    <dgm:pt modelId="{9BE3F037-0666-4214-A00C-369E7C1725FF}">
      <dgm:prSet custT="1"/>
      <dgm:spPr>
        <a:solidFill>
          <a:schemeClr val="bg1">
            <a:alpha val="90000"/>
          </a:schemeClr>
        </a:solidFill>
      </dgm:spPr>
      <dgm:t>
        <a:bodyPr/>
        <a:lstStyle/>
        <a:p>
          <a:endParaRPr lang="en-US" sz="1300" b="0" dirty="0">
            <a:solidFill>
              <a:schemeClr val="tx2"/>
            </a:solidFill>
            <a:effectLst/>
            <a:latin typeface="+mn-lt"/>
            <a:cs typeface="Segoe UI" panose="020B0502040204020203" pitchFamily="34" charset="0"/>
          </a:endParaRPr>
        </a:p>
      </dgm:t>
    </dgm:pt>
    <dgm:pt modelId="{DBD36CEC-6938-46AC-920B-A869788BBEF2}" type="parTrans" cxnId="{A8DD7594-9D96-40FB-A59A-8CEFB3D57FB0}">
      <dgm:prSet/>
      <dgm:spPr/>
      <dgm:t>
        <a:bodyPr/>
        <a:lstStyle/>
        <a:p>
          <a:endParaRPr lang="en-US"/>
        </a:p>
      </dgm:t>
    </dgm:pt>
    <dgm:pt modelId="{94CE5376-2A0D-4C78-A6B4-DFC64CC9FA58}" type="sibTrans" cxnId="{A8DD7594-9D96-40FB-A59A-8CEFB3D57FB0}">
      <dgm:prSet/>
      <dgm:spPr/>
      <dgm:t>
        <a:bodyPr/>
        <a:lstStyle/>
        <a:p>
          <a:endParaRPr lang="en-US"/>
        </a:p>
      </dgm:t>
    </dgm:pt>
    <dgm:pt modelId="{57F4047F-DA12-410E-A494-957BDF1F6D32}">
      <dgm:prSet phldrT="[Text]" custT="1"/>
      <dgm:spPr>
        <a:solidFill>
          <a:schemeClr val="bg1">
            <a:alpha val="90000"/>
          </a:schemeClr>
        </a:solidFill>
      </dgm:spPr>
      <dgm:t>
        <a:bodyPr/>
        <a:lstStyle/>
        <a:p>
          <a:r>
            <a:rPr lang="en-US" sz="1300" b="0" dirty="0">
              <a:solidFill>
                <a:schemeClr val="tx1"/>
              </a:solidFill>
              <a:effectLst/>
              <a:latin typeface="+mn-lt"/>
              <a:cs typeface="Segoe UI" panose="020B0502040204020203" pitchFamily="34" charset="0"/>
            </a:rPr>
            <a:t>This folder contains test data excel files.</a:t>
          </a:r>
          <a:endParaRPr lang="en-US" sz="1300" b="0" dirty="0">
            <a:solidFill>
              <a:schemeClr val="tx2"/>
            </a:solidFill>
            <a:effectLst/>
            <a:latin typeface="+mn-lt"/>
            <a:cs typeface="Segoe UI" panose="020B0502040204020203" pitchFamily="34" charset="0"/>
          </a:endParaRPr>
        </a:p>
      </dgm:t>
    </dgm:pt>
    <dgm:pt modelId="{EBB1A02D-0D41-45E7-A7E4-3F58C4D5742C}" type="parTrans" cxnId="{2D655A3E-4DBA-4038-926C-F9AAAE904A2A}">
      <dgm:prSet/>
      <dgm:spPr/>
      <dgm:t>
        <a:bodyPr/>
        <a:lstStyle/>
        <a:p>
          <a:endParaRPr lang="en-IN"/>
        </a:p>
      </dgm:t>
    </dgm:pt>
    <dgm:pt modelId="{2081EAA9-7939-428D-A971-8746C9AE9C6E}" type="sibTrans" cxnId="{2D655A3E-4DBA-4038-926C-F9AAAE904A2A}">
      <dgm:prSet/>
      <dgm:spPr/>
      <dgm:t>
        <a:bodyPr/>
        <a:lstStyle/>
        <a:p>
          <a:endParaRPr lang="en-IN"/>
        </a:p>
      </dgm:t>
    </dgm:pt>
    <dgm:pt modelId="{69933BA9-1C47-4215-8E6F-4F2040B20F71}">
      <dgm:prSet phldrT="[Text]"/>
      <dgm:spPr>
        <a:solidFill>
          <a:schemeClr val="bg1">
            <a:alpha val="90000"/>
          </a:schemeClr>
        </a:solidFill>
      </dgm:spPr>
      <dgm:t>
        <a:bodyPr/>
        <a:lstStyle/>
        <a:p>
          <a:endParaRPr lang="en-US" sz="1900" b="0" dirty="0">
            <a:solidFill>
              <a:schemeClr val="tx2"/>
            </a:solidFill>
            <a:effectLst/>
            <a:latin typeface="Segoe UI" panose="020B0502040204020203" pitchFamily="34" charset="0"/>
            <a:cs typeface="Segoe UI" panose="020B0502040204020203" pitchFamily="34" charset="0"/>
          </a:endParaRPr>
        </a:p>
      </dgm:t>
    </dgm:pt>
    <dgm:pt modelId="{C06BF59C-134A-4D8C-A5B3-37A048950795}" type="parTrans" cxnId="{57957C85-6CC1-4B2A-9100-2810E8629A60}">
      <dgm:prSet/>
      <dgm:spPr/>
      <dgm:t>
        <a:bodyPr/>
        <a:lstStyle/>
        <a:p>
          <a:endParaRPr lang="en-IN"/>
        </a:p>
      </dgm:t>
    </dgm:pt>
    <dgm:pt modelId="{658A4A4A-0D31-45E8-8D87-B4B45DCB142C}" type="sibTrans" cxnId="{57957C85-6CC1-4B2A-9100-2810E8629A60}">
      <dgm:prSet/>
      <dgm:spPr/>
      <dgm:t>
        <a:bodyPr/>
        <a:lstStyle/>
        <a:p>
          <a:endParaRPr lang="en-IN"/>
        </a:p>
      </dgm:t>
    </dgm:pt>
    <dgm:pt modelId="{37D7DB1C-1AA2-45F3-872B-41215BB482AD}" type="pres">
      <dgm:prSet presAssocID="{22CA6F3C-A638-4ACA-8BF4-E7F81C789D3E}" presName="Name0" presStyleCnt="0">
        <dgm:presLayoutVars>
          <dgm:dir/>
          <dgm:animLvl val="lvl"/>
          <dgm:resizeHandles/>
        </dgm:presLayoutVars>
      </dgm:prSet>
      <dgm:spPr/>
    </dgm:pt>
    <dgm:pt modelId="{EE7FEA3C-40A0-4AFD-831F-664FE93BBBCB}" type="pres">
      <dgm:prSet presAssocID="{148E1D19-EECD-4EA1-8E68-B818CE0BF8C1}" presName="linNode" presStyleCnt="0"/>
      <dgm:spPr/>
    </dgm:pt>
    <dgm:pt modelId="{4FC021F1-999C-44D4-9288-DC22F9E7461A}" type="pres">
      <dgm:prSet presAssocID="{148E1D19-EECD-4EA1-8E68-B818CE0BF8C1}" presName="parentShp" presStyleLbl="node1" presStyleIdx="0" presStyleCnt="4" custLinFactNeighborY="-126">
        <dgm:presLayoutVars>
          <dgm:bulletEnabled val="1"/>
        </dgm:presLayoutVars>
      </dgm:prSet>
      <dgm:spPr/>
    </dgm:pt>
    <dgm:pt modelId="{D66B5BCA-136F-4FF8-A6C0-C499DBE2C3CE}" type="pres">
      <dgm:prSet presAssocID="{148E1D19-EECD-4EA1-8E68-B818CE0BF8C1}" presName="childShp" presStyleLbl="bgAccFollowNode1" presStyleIdx="0" presStyleCnt="4">
        <dgm:presLayoutVars>
          <dgm:bulletEnabled val="1"/>
        </dgm:presLayoutVars>
      </dgm:prSet>
      <dgm:spPr>
        <a:prstGeom prst="homePlate">
          <a:avLst/>
        </a:prstGeom>
      </dgm:spPr>
    </dgm:pt>
    <dgm:pt modelId="{0FD8B297-8001-4612-834A-8771991391BA}" type="pres">
      <dgm:prSet presAssocID="{62DA4C46-62BA-4783-A99B-A9ABBA0B9047}" presName="spacing" presStyleCnt="0"/>
      <dgm:spPr/>
    </dgm:pt>
    <dgm:pt modelId="{8F175779-67F5-45AD-A28C-62F84EDCB9F3}" type="pres">
      <dgm:prSet presAssocID="{66E986AE-18E9-4A1D-BF9E-22C86D9E4E5B}" presName="linNode" presStyleCnt="0"/>
      <dgm:spPr/>
    </dgm:pt>
    <dgm:pt modelId="{D7D883C6-9D16-4823-A49A-9F4227796C5E}" type="pres">
      <dgm:prSet presAssocID="{66E986AE-18E9-4A1D-BF9E-22C86D9E4E5B}" presName="parentShp" presStyleLbl="node1" presStyleIdx="1" presStyleCnt="4">
        <dgm:presLayoutVars>
          <dgm:bulletEnabled val="1"/>
        </dgm:presLayoutVars>
      </dgm:prSet>
      <dgm:spPr/>
    </dgm:pt>
    <dgm:pt modelId="{B197DAF5-D444-46AA-BCEF-8691007B9D00}" type="pres">
      <dgm:prSet presAssocID="{66E986AE-18E9-4A1D-BF9E-22C86D9E4E5B}" presName="childShp" presStyleLbl="bgAccFollowNode1" presStyleIdx="1" presStyleCnt="4" custScaleY="74261">
        <dgm:presLayoutVars>
          <dgm:bulletEnabled val="1"/>
        </dgm:presLayoutVars>
      </dgm:prSet>
      <dgm:spPr>
        <a:prstGeom prst="homePlate">
          <a:avLst/>
        </a:prstGeom>
      </dgm:spPr>
    </dgm:pt>
    <dgm:pt modelId="{A7E7DC5F-D094-4C77-A751-5117B6C49E2F}" type="pres">
      <dgm:prSet presAssocID="{D5B374E1-52E8-4933-B9D6-E46AF1C78D90}" presName="spacing" presStyleCnt="0"/>
      <dgm:spPr/>
    </dgm:pt>
    <dgm:pt modelId="{645D0763-7BB7-4C0A-BCAA-BA7DCE25D122}" type="pres">
      <dgm:prSet presAssocID="{17FE4961-6E30-49AF-90F7-66F10A1EA31E}" presName="linNode" presStyleCnt="0"/>
      <dgm:spPr/>
    </dgm:pt>
    <dgm:pt modelId="{AF6D7525-ADDA-45AB-AFB9-4CF1DAFDE034}" type="pres">
      <dgm:prSet presAssocID="{17FE4961-6E30-49AF-90F7-66F10A1EA31E}" presName="parentShp" presStyleLbl="node1" presStyleIdx="2" presStyleCnt="4">
        <dgm:presLayoutVars>
          <dgm:bulletEnabled val="1"/>
        </dgm:presLayoutVars>
      </dgm:prSet>
      <dgm:spPr/>
    </dgm:pt>
    <dgm:pt modelId="{F57BBFA7-33BE-4232-B61D-16B4C5E111CE}" type="pres">
      <dgm:prSet presAssocID="{17FE4961-6E30-49AF-90F7-66F10A1EA31E}" presName="childShp" presStyleLbl="bgAccFollowNode1" presStyleIdx="2" presStyleCnt="4" custScaleY="78533" custLinFactNeighborX="0" custLinFactNeighborY="1755">
        <dgm:presLayoutVars>
          <dgm:bulletEnabled val="1"/>
        </dgm:presLayoutVars>
      </dgm:prSet>
      <dgm:spPr>
        <a:prstGeom prst="homePlate">
          <a:avLst/>
        </a:prstGeom>
      </dgm:spPr>
    </dgm:pt>
    <dgm:pt modelId="{4843A4F4-4E75-4711-9810-3D3852182E48}" type="pres">
      <dgm:prSet presAssocID="{92009CC7-DA91-4794-AC6E-77F8E49B80F8}" presName="spacing" presStyleCnt="0"/>
      <dgm:spPr/>
    </dgm:pt>
    <dgm:pt modelId="{DBB03CEB-E29E-41AF-B61A-A0674BA7803F}" type="pres">
      <dgm:prSet presAssocID="{A3EEC8EF-FDAE-482E-BC2A-02292BFF60A2}" presName="linNode" presStyleCnt="0"/>
      <dgm:spPr/>
    </dgm:pt>
    <dgm:pt modelId="{C92508FE-EF45-4588-9C81-9823BF58A1CB}" type="pres">
      <dgm:prSet presAssocID="{A3EEC8EF-FDAE-482E-BC2A-02292BFF60A2}" presName="parentShp" presStyleLbl="node1" presStyleIdx="3" presStyleCnt="4">
        <dgm:presLayoutVars>
          <dgm:bulletEnabled val="1"/>
        </dgm:presLayoutVars>
      </dgm:prSet>
      <dgm:spPr/>
    </dgm:pt>
    <dgm:pt modelId="{8573D4B1-2865-4883-B6AF-473B252E1084}" type="pres">
      <dgm:prSet presAssocID="{A3EEC8EF-FDAE-482E-BC2A-02292BFF60A2}" presName="childShp" presStyleLbl="bgAccFollowNode1" presStyleIdx="3" presStyleCnt="4">
        <dgm:presLayoutVars>
          <dgm:bulletEnabled val="1"/>
        </dgm:presLayoutVars>
      </dgm:prSet>
      <dgm:spPr>
        <a:prstGeom prst="homePlate">
          <a:avLst/>
        </a:prstGeom>
      </dgm:spPr>
    </dgm:pt>
  </dgm:ptLst>
  <dgm:cxnLst>
    <dgm:cxn modelId="{0164F92B-21F4-4E11-B6FF-5CE1B6F0BFD0}" type="presOf" srcId="{E15DB954-6703-49E8-B907-11671D129D5A}" destId="{D66B5BCA-136F-4FF8-A6C0-C499DBE2C3CE}" srcOrd="0" destOrd="0" presId="urn:microsoft.com/office/officeart/2005/8/layout/vList6"/>
    <dgm:cxn modelId="{F4299C30-DC13-4A8D-9E8F-9D8CB1D5DBBA}" type="presOf" srcId="{2A216ED8-E2E0-4FEC-8B2E-D96789ADD38F}" destId="{B197DAF5-D444-46AA-BCEF-8691007B9D00}" srcOrd="0" destOrd="0" presId="urn:microsoft.com/office/officeart/2005/8/layout/vList6"/>
    <dgm:cxn modelId="{09903E3D-C001-43BB-94AF-150C0AE540E7}" type="presOf" srcId="{9BE3F037-0666-4214-A00C-369E7C1725FF}" destId="{8573D4B1-2865-4883-B6AF-473B252E1084}" srcOrd="0" destOrd="0" presId="urn:microsoft.com/office/officeart/2005/8/layout/vList6"/>
    <dgm:cxn modelId="{2D655A3E-4DBA-4038-926C-F9AAAE904A2A}" srcId="{17FE4961-6E30-49AF-90F7-66F10A1EA31E}" destId="{57F4047F-DA12-410E-A494-957BDF1F6D32}" srcOrd="1" destOrd="0" parTransId="{EBB1A02D-0D41-45E7-A7E4-3F58C4D5742C}" sibTransId="{2081EAA9-7939-428D-A971-8746C9AE9C6E}"/>
    <dgm:cxn modelId="{3E839376-C153-41E3-8120-BB80E9F593D6}" type="presOf" srcId="{66E986AE-18E9-4A1D-BF9E-22C86D9E4E5B}" destId="{D7D883C6-9D16-4823-A49A-9F4227796C5E}" srcOrd="0" destOrd="0" presId="urn:microsoft.com/office/officeart/2005/8/layout/vList6"/>
    <dgm:cxn modelId="{36989A80-E7E3-482C-AEAD-8EBE2E7C94E5}" srcId="{66E986AE-18E9-4A1D-BF9E-22C86D9E4E5B}" destId="{2A216ED8-E2E0-4FEC-8B2E-D96789ADD38F}" srcOrd="0" destOrd="0" parTransId="{11FA2169-D299-4C18-AEEF-99FE57B7C3BB}" sibTransId="{E4B146F0-D0CF-48E1-A286-3ABE33DF7263}"/>
    <dgm:cxn modelId="{BEDF4084-3C01-469A-BD06-A6CB57AB7104}" type="presOf" srcId="{148E1D19-EECD-4EA1-8E68-B818CE0BF8C1}" destId="{4FC021F1-999C-44D4-9288-DC22F9E7461A}" srcOrd="0" destOrd="0" presId="urn:microsoft.com/office/officeart/2005/8/layout/vList6"/>
    <dgm:cxn modelId="{57957C85-6CC1-4B2A-9100-2810E8629A60}" srcId="{17FE4961-6E30-49AF-90F7-66F10A1EA31E}" destId="{69933BA9-1C47-4215-8E6F-4F2040B20F71}" srcOrd="0" destOrd="0" parTransId="{C06BF59C-134A-4D8C-A5B3-37A048950795}" sibTransId="{658A4A4A-0D31-45E8-8D87-B4B45DCB142C}"/>
    <dgm:cxn modelId="{A8DD7594-9D96-40FB-A59A-8CEFB3D57FB0}" srcId="{A3EEC8EF-FDAE-482E-BC2A-02292BFF60A2}" destId="{9BE3F037-0666-4214-A00C-369E7C1725FF}" srcOrd="0" destOrd="0" parTransId="{DBD36CEC-6938-46AC-920B-A869788BBEF2}" sibTransId="{94CE5376-2A0D-4C78-A6B4-DFC64CC9FA58}"/>
    <dgm:cxn modelId="{021BDB9A-7E31-45FF-BF0A-86ED89C7165B}" type="presOf" srcId="{49EA9C3A-51F5-4ECF-907A-7671339F877E}" destId="{8573D4B1-2865-4883-B6AF-473B252E1084}" srcOrd="0" destOrd="1" presId="urn:microsoft.com/office/officeart/2005/8/layout/vList6"/>
    <dgm:cxn modelId="{F32D70A1-B635-45BB-A337-524306CD4743}" srcId="{22CA6F3C-A638-4ACA-8BF4-E7F81C789D3E}" destId="{66E986AE-18E9-4A1D-BF9E-22C86D9E4E5B}" srcOrd="1" destOrd="0" parTransId="{8F7971C5-D599-4C73-8947-020EACC80F1D}" sibTransId="{D5B374E1-52E8-4933-B9D6-E46AF1C78D90}"/>
    <dgm:cxn modelId="{81F683AB-3806-4EBB-AD18-504F7BFF9DEC}" srcId="{148E1D19-EECD-4EA1-8E68-B818CE0BF8C1}" destId="{E15DB954-6703-49E8-B907-11671D129D5A}" srcOrd="0" destOrd="0" parTransId="{3ADA5505-715F-4231-A399-044FF018B964}" sibTransId="{3925229F-75A5-4436-801C-6BBA50134350}"/>
    <dgm:cxn modelId="{0BDD46B7-E6BC-4E02-912B-65D274524600}" srcId="{22CA6F3C-A638-4ACA-8BF4-E7F81C789D3E}" destId="{17FE4961-6E30-49AF-90F7-66F10A1EA31E}" srcOrd="2" destOrd="0" parTransId="{7EC8ADB7-6B9A-4467-AE27-3C1D25EF1732}" sibTransId="{92009CC7-DA91-4794-AC6E-77F8E49B80F8}"/>
    <dgm:cxn modelId="{D20270C8-FF1A-473B-98BC-2D3FB7C02E4F}" srcId="{22CA6F3C-A638-4ACA-8BF4-E7F81C789D3E}" destId="{A3EEC8EF-FDAE-482E-BC2A-02292BFF60A2}" srcOrd="3" destOrd="0" parTransId="{5097524F-234A-40BB-82B0-F5880DA0D9A7}" sibTransId="{FC8E6406-8F4A-40A5-8295-F1B0C061EED0}"/>
    <dgm:cxn modelId="{E5F51FC9-479B-4034-ADD3-9C10131E31B9}" type="presOf" srcId="{17FE4961-6E30-49AF-90F7-66F10A1EA31E}" destId="{AF6D7525-ADDA-45AB-AFB9-4CF1DAFDE034}" srcOrd="0" destOrd="0" presId="urn:microsoft.com/office/officeart/2005/8/layout/vList6"/>
    <dgm:cxn modelId="{DC1578C9-C973-4874-A5C2-03852B286127}" type="presOf" srcId="{69933BA9-1C47-4215-8E6F-4F2040B20F71}" destId="{F57BBFA7-33BE-4232-B61D-16B4C5E111CE}" srcOrd="0" destOrd="0" presId="urn:microsoft.com/office/officeart/2005/8/layout/vList6"/>
    <dgm:cxn modelId="{3FCE08DA-E2F7-483F-98AD-97FD1937E41C}" type="presOf" srcId="{57F4047F-DA12-410E-A494-957BDF1F6D32}" destId="{F57BBFA7-33BE-4232-B61D-16B4C5E111CE}" srcOrd="0" destOrd="1" presId="urn:microsoft.com/office/officeart/2005/8/layout/vList6"/>
    <dgm:cxn modelId="{177E41DD-A181-4B04-A6A2-10F3D45A3EB2}" type="presOf" srcId="{22CA6F3C-A638-4ACA-8BF4-E7F81C789D3E}" destId="{37D7DB1C-1AA2-45F3-872B-41215BB482AD}" srcOrd="0" destOrd="0" presId="urn:microsoft.com/office/officeart/2005/8/layout/vList6"/>
    <dgm:cxn modelId="{07C1C7DE-B669-4B84-AF3E-787F32DB68DF}" srcId="{22CA6F3C-A638-4ACA-8BF4-E7F81C789D3E}" destId="{148E1D19-EECD-4EA1-8E68-B818CE0BF8C1}" srcOrd="0" destOrd="0" parTransId="{7C81467B-FEDB-4CD2-904D-279ABE3D9896}" sibTransId="{62DA4C46-62BA-4783-A99B-A9ABBA0B9047}"/>
    <dgm:cxn modelId="{5BFF5DE3-ACC7-4926-8D58-0D8BDABCFEBF}" srcId="{A3EEC8EF-FDAE-482E-BC2A-02292BFF60A2}" destId="{49EA9C3A-51F5-4ECF-907A-7671339F877E}" srcOrd="1" destOrd="0" parTransId="{8A938C8D-3CE9-42AA-8D39-E38E54B78FE1}" sibTransId="{E43DDA88-34EE-4243-B789-90FAC81C7FC8}"/>
    <dgm:cxn modelId="{22A344E5-5567-49CF-BE9C-899E5E8149E6}" type="presOf" srcId="{A3EEC8EF-FDAE-482E-BC2A-02292BFF60A2}" destId="{C92508FE-EF45-4588-9C81-9823BF58A1CB}" srcOrd="0" destOrd="0" presId="urn:microsoft.com/office/officeart/2005/8/layout/vList6"/>
    <dgm:cxn modelId="{21208F93-B5AD-48D6-B785-AB4C0D9EC3AA}" type="presParOf" srcId="{37D7DB1C-1AA2-45F3-872B-41215BB482AD}" destId="{EE7FEA3C-40A0-4AFD-831F-664FE93BBBCB}" srcOrd="0" destOrd="0" presId="urn:microsoft.com/office/officeart/2005/8/layout/vList6"/>
    <dgm:cxn modelId="{EF1C0E74-6352-40D0-AA4F-9A6AF29566A4}" type="presParOf" srcId="{EE7FEA3C-40A0-4AFD-831F-664FE93BBBCB}" destId="{4FC021F1-999C-44D4-9288-DC22F9E7461A}" srcOrd="0" destOrd="0" presId="urn:microsoft.com/office/officeart/2005/8/layout/vList6"/>
    <dgm:cxn modelId="{9708D892-A3EE-4998-A84C-4A8775A8D2DD}" type="presParOf" srcId="{EE7FEA3C-40A0-4AFD-831F-664FE93BBBCB}" destId="{D66B5BCA-136F-4FF8-A6C0-C499DBE2C3CE}" srcOrd="1" destOrd="0" presId="urn:microsoft.com/office/officeart/2005/8/layout/vList6"/>
    <dgm:cxn modelId="{35870186-6293-42C0-BC80-BB0FE33B614E}" type="presParOf" srcId="{37D7DB1C-1AA2-45F3-872B-41215BB482AD}" destId="{0FD8B297-8001-4612-834A-8771991391BA}" srcOrd="1" destOrd="0" presId="urn:microsoft.com/office/officeart/2005/8/layout/vList6"/>
    <dgm:cxn modelId="{B8DFBCFA-4EFE-4C6B-B3E9-AF605E3C86A1}" type="presParOf" srcId="{37D7DB1C-1AA2-45F3-872B-41215BB482AD}" destId="{8F175779-67F5-45AD-A28C-62F84EDCB9F3}" srcOrd="2" destOrd="0" presId="urn:microsoft.com/office/officeart/2005/8/layout/vList6"/>
    <dgm:cxn modelId="{7BC7B0CB-34A8-4F07-878E-C95C31813ADE}" type="presParOf" srcId="{8F175779-67F5-45AD-A28C-62F84EDCB9F3}" destId="{D7D883C6-9D16-4823-A49A-9F4227796C5E}" srcOrd="0" destOrd="0" presId="urn:microsoft.com/office/officeart/2005/8/layout/vList6"/>
    <dgm:cxn modelId="{97B96D42-6B0F-47A0-9810-0B46267A957F}" type="presParOf" srcId="{8F175779-67F5-45AD-A28C-62F84EDCB9F3}" destId="{B197DAF5-D444-46AA-BCEF-8691007B9D00}" srcOrd="1" destOrd="0" presId="urn:microsoft.com/office/officeart/2005/8/layout/vList6"/>
    <dgm:cxn modelId="{A9B83E87-B4BC-4BDD-A8E5-27AE84BAA34D}" type="presParOf" srcId="{37D7DB1C-1AA2-45F3-872B-41215BB482AD}" destId="{A7E7DC5F-D094-4C77-A751-5117B6C49E2F}" srcOrd="3" destOrd="0" presId="urn:microsoft.com/office/officeart/2005/8/layout/vList6"/>
    <dgm:cxn modelId="{70304DCC-7A8C-462C-A3C7-29309BBD90F5}" type="presParOf" srcId="{37D7DB1C-1AA2-45F3-872B-41215BB482AD}" destId="{645D0763-7BB7-4C0A-BCAA-BA7DCE25D122}" srcOrd="4" destOrd="0" presId="urn:microsoft.com/office/officeart/2005/8/layout/vList6"/>
    <dgm:cxn modelId="{53D178D7-D2C4-4D8F-8037-C7D1EC540A3A}" type="presParOf" srcId="{645D0763-7BB7-4C0A-BCAA-BA7DCE25D122}" destId="{AF6D7525-ADDA-45AB-AFB9-4CF1DAFDE034}" srcOrd="0" destOrd="0" presId="urn:microsoft.com/office/officeart/2005/8/layout/vList6"/>
    <dgm:cxn modelId="{AC63AB59-7E15-454F-964E-89ED3D4FC5BD}" type="presParOf" srcId="{645D0763-7BB7-4C0A-BCAA-BA7DCE25D122}" destId="{F57BBFA7-33BE-4232-B61D-16B4C5E111CE}" srcOrd="1" destOrd="0" presId="urn:microsoft.com/office/officeart/2005/8/layout/vList6"/>
    <dgm:cxn modelId="{DA52D919-49C7-4027-8E11-58192A8614D2}" type="presParOf" srcId="{37D7DB1C-1AA2-45F3-872B-41215BB482AD}" destId="{4843A4F4-4E75-4711-9810-3D3852182E48}" srcOrd="5" destOrd="0" presId="urn:microsoft.com/office/officeart/2005/8/layout/vList6"/>
    <dgm:cxn modelId="{E57C170C-96C2-4910-B2BB-E6FEAF53E18C}" type="presParOf" srcId="{37D7DB1C-1AA2-45F3-872B-41215BB482AD}" destId="{DBB03CEB-E29E-41AF-B61A-A0674BA7803F}" srcOrd="6" destOrd="0" presId="urn:microsoft.com/office/officeart/2005/8/layout/vList6"/>
    <dgm:cxn modelId="{05276B3A-6539-47ED-BA81-9AD577A095F0}" type="presParOf" srcId="{DBB03CEB-E29E-41AF-B61A-A0674BA7803F}" destId="{C92508FE-EF45-4588-9C81-9823BF58A1CB}" srcOrd="0" destOrd="0" presId="urn:microsoft.com/office/officeart/2005/8/layout/vList6"/>
    <dgm:cxn modelId="{C3E271FF-99B8-4D3D-BF39-EB7DFF521929}" type="presParOf" srcId="{DBB03CEB-E29E-41AF-B61A-A0674BA7803F}" destId="{8573D4B1-2865-4883-B6AF-473B252E1084}"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6B5BCA-136F-4FF8-A6C0-C499DBE2C3CE}">
      <dsp:nvSpPr>
        <dsp:cNvPr id="0" name=""/>
        <dsp:cNvSpPr/>
      </dsp:nvSpPr>
      <dsp:spPr>
        <a:xfrm>
          <a:off x="4024431" y="1415"/>
          <a:ext cx="6036646" cy="1122622"/>
        </a:xfrm>
        <a:prstGeom prst="homePlate">
          <a:avLst/>
        </a:prstGeom>
        <a:solidFill>
          <a:schemeClr val="bg1">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255" tIns="8255" rIns="8255" bIns="8255" numCol="1" spcCol="1270" anchor="ctr" anchorCtr="0">
          <a:noAutofit/>
        </a:bodyPr>
        <a:lstStyle/>
        <a:p>
          <a:pPr marL="114300" lvl="1" indent="-114300" algn="l" defTabSz="577850">
            <a:lnSpc>
              <a:spcPct val="90000"/>
            </a:lnSpc>
            <a:spcBef>
              <a:spcPct val="0"/>
            </a:spcBef>
            <a:spcAft>
              <a:spcPct val="15000"/>
            </a:spcAft>
            <a:buChar char="•"/>
          </a:pPr>
          <a:r>
            <a:rPr lang="en-US" sz="1300" b="0" i="0" kern="1200" dirty="0">
              <a:solidFill>
                <a:srgbClr val="222222"/>
              </a:solidFill>
              <a:effectLst/>
            </a:rPr>
            <a:t>Contains a driver script to drive the entire execution. I t reads the execution flag from data excel and depends on the flag the testcase will get called one after the another. This script is responsible for loading the respective application libraries at the run time.</a:t>
          </a:r>
          <a:endParaRPr lang="en-US" sz="1300" b="0" kern="1200" dirty="0">
            <a:solidFill>
              <a:schemeClr val="tx2"/>
            </a:solidFill>
          </a:endParaRPr>
        </a:p>
      </dsp:txBody>
      <dsp:txXfrm>
        <a:off x="4024431" y="1415"/>
        <a:ext cx="5755991" cy="1122622"/>
      </dsp:txXfrm>
    </dsp:sp>
    <dsp:sp modelId="{4FC021F1-999C-44D4-9288-DC22F9E7461A}">
      <dsp:nvSpPr>
        <dsp:cNvPr id="0" name=""/>
        <dsp:cNvSpPr/>
      </dsp:nvSpPr>
      <dsp:spPr>
        <a:xfrm>
          <a:off x="0" y="0"/>
          <a:ext cx="4024431" cy="1122622"/>
        </a:xfrm>
        <a:prstGeom prst="round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b="0" kern="1200" dirty="0">
              <a:latin typeface="Segoe UI" panose="020B0502040204020203" pitchFamily="34" charset="0"/>
              <a:cs typeface="Segoe UI" panose="020B0502040204020203" pitchFamily="34" charset="0"/>
            </a:rPr>
            <a:t>Driver</a:t>
          </a:r>
        </a:p>
      </dsp:txBody>
      <dsp:txXfrm>
        <a:off x="54802" y="54802"/>
        <a:ext cx="3914827" cy="1013018"/>
      </dsp:txXfrm>
    </dsp:sp>
    <dsp:sp modelId="{B197DAF5-D444-46AA-BCEF-8691007B9D00}">
      <dsp:nvSpPr>
        <dsp:cNvPr id="0" name=""/>
        <dsp:cNvSpPr/>
      </dsp:nvSpPr>
      <dsp:spPr>
        <a:xfrm>
          <a:off x="4024431" y="1380775"/>
          <a:ext cx="6036646" cy="833670"/>
        </a:xfrm>
        <a:prstGeom prst="homePlate">
          <a:avLst/>
        </a:prstGeom>
        <a:solidFill>
          <a:schemeClr val="bg1">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255" tIns="8255" rIns="8255" bIns="8255" numCol="1" spcCol="1270" anchor="t" anchorCtr="0">
          <a:noAutofit/>
        </a:bodyPr>
        <a:lstStyle/>
        <a:p>
          <a:pPr marL="114300" lvl="1" indent="-114300" algn="l" defTabSz="577850">
            <a:lnSpc>
              <a:spcPct val="90000"/>
            </a:lnSpc>
            <a:spcBef>
              <a:spcPct val="0"/>
            </a:spcBef>
            <a:spcAft>
              <a:spcPct val="15000"/>
            </a:spcAft>
            <a:buFont typeface="Arial" panose="020B0604020202020204" pitchFamily="34" charset="0"/>
            <a:buChar char="•"/>
          </a:pPr>
          <a:r>
            <a:rPr lang="en-US" sz="1300" b="0" i="0" kern="1200" dirty="0">
              <a:solidFill>
                <a:srgbClr val="222222"/>
              </a:solidFill>
              <a:effectLst/>
            </a:rPr>
            <a:t>This is the folder where all our framework related and application related reusable functions are written in .</a:t>
          </a:r>
          <a:r>
            <a:rPr lang="en-US" sz="1300" b="0" i="0" kern="1200" dirty="0" err="1">
              <a:solidFill>
                <a:srgbClr val="222222"/>
              </a:solidFill>
              <a:effectLst/>
            </a:rPr>
            <a:t>vbs</a:t>
          </a:r>
          <a:r>
            <a:rPr lang="en-US" sz="1300" b="0" i="0" kern="1200" dirty="0">
              <a:solidFill>
                <a:srgbClr val="222222"/>
              </a:solidFill>
              <a:effectLst/>
            </a:rPr>
            <a:t> / .</a:t>
          </a:r>
          <a:r>
            <a:rPr lang="en-US" sz="1300" b="0" i="0" kern="1200" dirty="0" err="1">
              <a:solidFill>
                <a:srgbClr val="222222"/>
              </a:solidFill>
              <a:effectLst/>
            </a:rPr>
            <a:t>qfl</a:t>
          </a:r>
          <a:r>
            <a:rPr lang="en-US" sz="1300" b="0" i="0" kern="1200" dirty="0">
              <a:solidFill>
                <a:srgbClr val="222222"/>
              </a:solidFill>
              <a:effectLst/>
            </a:rPr>
            <a:t> format .</a:t>
          </a:r>
          <a:endParaRPr lang="en-US" sz="1300" b="0" kern="1200" dirty="0">
            <a:solidFill>
              <a:schemeClr val="tx2"/>
            </a:solidFill>
            <a:effectLst/>
            <a:latin typeface="Segoe UI" panose="020B0502040204020203" pitchFamily="34" charset="0"/>
            <a:cs typeface="Segoe UI" panose="020B0502040204020203" pitchFamily="34" charset="0"/>
          </a:endParaRPr>
        </a:p>
      </dsp:txBody>
      <dsp:txXfrm>
        <a:off x="4024431" y="1380775"/>
        <a:ext cx="5828229" cy="833670"/>
      </dsp:txXfrm>
    </dsp:sp>
    <dsp:sp modelId="{D7D883C6-9D16-4823-A49A-9F4227796C5E}">
      <dsp:nvSpPr>
        <dsp:cNvPr id="0" name=""/>
        <dsp:cNvSpPr/>
      </dsp:nvSpPr>
      <dsp:spPr>
        <a:xfrm>
          <a:off x="0" y="1236299"/>
          <a:ext cx="4024431" cy="1122622"/>
        </a:xfrm>
        <a:prstGeom prst="round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Function Libraries</a:t>
          </a:r>
          <a:endParaRPr lang="en-US" sz="1800" b="1" kern="1200" dirty="0"/>
        </a:p>
      </dsp:txBody>
      <dsp:txXfrm>
        <a:off x="54802" y="1291101"/>
        <a:ext cx="3914827" cy="1013018"/>
      </dsp:txXfrm>
    </dsp:sp>
    <dsp:sp modelId="{F57BBFA7-33BE-4232-B61D-16B4C5E111CE}">
      <dsp:nvSpPr>
        <dsp:cNvPr id="0" name=""/>
        <dsp:cNvSpPr/>
      </dsp:nvSpPr>
      <dsp:spPr>
        <a:xfrm>
          <a:off x="4024431" y="2611382"/>
          <a:ext cx="6036646" cy="881628"/>
        </a:xfrm>
        <a:prstGeom prst="homePlate">
          <a:avLst/>
        </a:prstGeom>
        <a:solidFill>
          <a:schemeClr val="bg1">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255" tIns="8255" rIns="8255" bIns="8255" numCol="1" spcCol="1270" anchor="t" anchorCtr="0">
          <a:noAutofit/>
        </a:bodyPr>
        <a:lstStyle/>
        <a:p>
          <a:pPr marL="171450" lvl="1" indent="-171450" algn="l" defTabSz="844550">
            <a:lnSpc>
              <a:spcPct val="90000"/>
            </a:lnSpc>
            <a:spcBef>
              <a:spcPct val="0"/>
            </a:spcBef>
            <a:spcAft>
              <a:spcPct val="15000"/>
            </a:spcAft>
            <a:buChar char="•"/>
          </a:pPr>
          <a:endParaRPr lang="en-US" sz="1900" b="0" kern="1200" dirty="0">
            <a:solidFill>
              <a:schemeClr val="tx2"/>
            </a:solidFill>
            <a:effectLst/>
            <a:latin typeface="Segoe UI" panose="020B0502040204020203" pitchFamily="34" charset="0"/>
            <a:cs typeface="Segoe UI" panose="020B0502040204020203" pitchFamily="34" charset="0"/>
          </a:endParaRPr>
        </a:p>
        <a:p>
          <a:pPr marL="114300" lvl="1" indent="-114300" algn="l" defTabSz="577850">
            <a:lnSpc>
              <a:spcPct val="90000"/>
            </a:lnSpc>
            <a:spcBef>
              <a:spcPct val="0"/>
            </a:spcBef>
            <a:spcAft>
              <a:spcPct val="15000"/>
            </a:spcAft>
            <a:buChar char="•"/>
          </a:pPr>
          <a:r>
            <a:rPr lang="en-US" sz="1300" b="0" kern="1200" dirty="0">
              <a:solidFill>
                <a:schemeClr val="tx1"/>
              </a:solidFill>
              <a:effectLst/>
              <a:latin typeface="+mn-lt"/>
              <a:cs typeface="Segoe UI" panose="020B0502040204020203" pitchFamily="34" charset="0"/>
            </a:rPr>
            <a:t>This folder contains test data excel files.</a:t>
          </a:r>
          <a:endParaRPr lang="en-US" sz="1300" b="0" kern="1200" dirty="0">
            <a:solidFill>
              <a:schemeClr val="tx2"/>
            </a:solidFill>
            <a:effectLst/>
            <a:latin typeface="+mn-lt"/>
            <a:cs typeface="Segoe UI" panose="020B0502040204020203" pitchFamily="34" charset="0"/>
          </a:endParaRPr>
        </a:p>
      </dsp:txBody>
      <dsp:txXfrm>
        <a:off x="4024431" y="2611382"/>
        <a:ext cx="5816239" cy="881628"/>
      </dsp:txXfrm>
    </dsp:sp>
    <dsp:sp modelId="{AF6D7525-ADDA-45AB-AFB9-4CF1DAFDE034}">
      <dsp:nvSpPr>
        <dsp:cNvPr id="0" name=""/>
        <dsp:cNvSpPr/>
      </dsp:nvSpPr>
      <dsp:spPr>
        <a:xfrm>
          <a:off x="0" y="2471183"/>
          <a:ext cx="4024431" cy="1122622"/>
        </a:xfrm>
        <a:prstGeom prst="round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Test Data </a:t>
          </a:r>
          <a:endParaRPr lang="en-US" sz="1800" b="1" kern="1200" dirty="0"/>
        </a:p>
      </dsp:txBody>
      <dsp:txXfrm>
        <a:off x="54802" y="2525985"/>
        <a:ext cx="3914827" cy="1013018"/>
      </dsp:txXfrm>
    </dsp:sp>
    <dsp:sp modelId="{8573D4B1-2865-4883-B6AF-473B252E1084}">
      <dsp:nvSpPr>
        <dsp:cNvPr id="0" name=""/>
        <dsp:cNvSpPr/>
      </dsp:nvSpPr>
      <dsp:spPr>
        <a:xfrm>
          <a:off x="4024431" y="3706067"/>
          <a:ext cx="6036646" cy="1122622"/>
        </a:xfrm>
        <a:prstGeom prst="homePlate">
          <a:avLst/>
        </a:prstGeom>
        <a:solidFill>
          <a:schemeClr val="bg1">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255" tIns="8255" rIns="8255" bIns="8255" numCol="1" spcCol="1270" anchor="t" anchorCtr="0">
          <a:noAutofit/>
        </a:bodyPr>
        <a:lstStyle/>
        <a:p>
          <a:pPr marL="114300" lvl="1" indent="-114300" algn="l" defTabSz="577850">
            <a:lnSpc>
              <a:spcPct val="90000"/>
            </a:lnSpc>
            <a:spcBef>
              <a:spcPct val="0"/>
            </a:spcBef>
            <a:spcAft>
              <a:spcPct val="15000"/>
            </a:spcAft>
            <a:buChar char="•"/>
          </a:pPr>
          <a:endParaRPr lang="en-US" sz="1300" b="0" kern="1200" dirty="0">
            <a:solidFill>
              <a:schemeClr val="tx2"/>
            </a:solidFill>
            <a:effectLst/>
            <a:latin typeface="+mn-lt"/>
            <a:cs typeface="Segoe UI" panose="020B0502040204020203" pitchFamily="34" charset="0"/>
          </a:endParaRPr>
        </a:p>
        <a:p>
          <a:pPr marL="114300" lvl="1" indent="-114300" algn="l" defTabSz="577850">
            <a:lnSpc>
              <a:spcPct val="90000"/>
            </a:lnSpc>
            <a:spcBef>
              <a:spcPct val="0"/>
            </a:spcBef>
            <a:spcAft>
              <a:spcPct val="15000"/>
            </a:spcAft>
            <a:buChar char="•"/>
          </a:pPr>
          <a:r>
            <a:rPr lang="en-US" sz="1300" b="0" kern="1200" dirty="0">
              <a:solidFill>
                <a:schemeClr val="tx1"/>
              </a:solidFill>
              <a:effectLst/>
              <a:latin typeface="+mn-lt"/>
              <a:cs typeface="Segoe UI" panose="020B0502040204020203" pitchFamily="34" charset="0"/>
            </a:rPr>
            <a:t>Post execution html results will get saved in this folder.</a:t>
          </a:r>
        </a:p>
      </dsp:txBody>
      <dsp:txXfrm>
        <a:off x="4024431" y="3706067"/>
        <a:ext cx="5755991" cy="1122622"/>
      </dsp:txXfrm>
    </dsp:sp>
    <dsp:sp modelId="{C92508FE-EF45-4588-9C81-9823BF58A1CB}">
      <dsp:nvSpPr>
        <dsp:cNvPr id="0" name=""/>
        <dsp:cNvSpPr/>
      </dsp:nvSpPr>
      <dsp:spPr>
        <a:xfrm>
          <a:off x="0" y="3706067"/>
          <a:ext cx="4024431" cy="1122622"/>
        </a:xfrm>
        <a:prstGeom prst="round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Test Results</a:t>
          </a:r>
          <a:endParaRPr lang="en-US" sz="1800" b="1" kern="1200" dirty="0"/>
        </a:p>
      </dsp:txBody>
      <dsp:txXfrm>
        <a:off x="54802" y="3760869"/>
        <a:ext cx="3914827" cy="1013018"/>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6805613" cy="496427"/>
          </a:xfrm>
          <a:prstGeom prst="rect">
            <a:avLst/>
          </a:prstGeom>
        </p:spPr>
        <p:txBody>
          <a:bodyPr vert="horz" lIns="34774" tIns="34774" rIns="243416" bIns="3477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441369"/>
            <a:ext cx="2949302" cy="496427"/>
          </a:xfrm>
          <a:prstGeom prst="rect">
            <a:avLst/>
          </a:prstGeom>
        </p:spPr>
        <p:txBody>
          <a:bodyPr vert="horz" lIns="88325" tIns="44162" rIns="88325" bIns="44162"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4790" y="9441369"/>
            <a:ext cx="2949302" cy="496427"/>
          </a:xfrm>
          <a:prstGeom prst="rect">
            <a:avLst/>
          </a:prstGeom>
        </p:spPr>
        <p:txBody>
          <a:bodyPr vert="horz" lIns="88325" tIns="44162" rIns="88325" bIns="44162"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7733540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6967"/>
          </a:xfrm>
          <a:prstGeom prst="rect">
            <a:avLst/>
          </a:prstGeom>
        </p:spPr>
        <p:txBody>
          <a:bodyPr vert="horz" lIns="95674" tIns="47837" rIns="95674" bIns="47837" rtlCol="0"/>
          <a:lstStyle>
            <a:lvl1pPr algn="l">
              <a:defRPr sz="1300"/>
            </a:lvl1pPr>
          </a:lstStyle>
          <a:p>
            <a:endParaRPr lang="en-US" dirty="0"/>
          </a:p>
        </p:txBody>
      </p:sp>
      <p:sp>
        <p:nvSpPr>
          <p:cNvPr id="3" name="Date Placeholder 2"/>
          <p:cNvSpPr>
            <a:spLocks noGrp="1"/>
          </p:cNvSpPr>
          <p:nvPr>
            <p:ph type="dt" idx="1"/>
          </p:nvPr>
        </p:nvSpPr>
        <p:spPr>
          <a:xfrm>
            <a:off x="3854940" y="1"/>
            <a:ext cx="2949099" cy="496967"/>
          </a:xfrm>
          <a:prstGeom prst="rect">
            <a:avLst/>
          </a:prstGeom>
        </p:spPr>
        <p:txBody>
          <a:bodyPr vert="horz" lIns="95674" tIns="47837" rIns="95674" bIns="47837" rtlCol="0"/>
          <a:lstStyle>
            <a:lvl1pPr algn="r">
              <a:defRPr sz="1300"/>
            </a:lvl1pPr>
          </a:lstStyle>
          <a:p>
            <a:fld id="{2FB4FF29-EE9A-4D47-9F1A-289A80693C0F}" type="datetimeFigureOut">
              <a:rPr lang="en-US" smtClean="0"/>
              <a:pPr/>
              <a:t>7/15/2024</a:t>
            </a:fld>
            <a:endParaRPr lang="en-US" dirty="0"/>
          </a:p>
        </p:txBody>
      </p:sp>
      <p:sp>
        <p:nvSpPr>
          <p:cNvPr id="4" name="Slide Image Placeholder 3"/>
          <p:cNvSpPr>
            <a:spLocks noGrp="1" noRot="1" noChangeAspect="1"/>
          </p:cNvSpPr>
          <p:nvPr>
            <p:ph type="sldImg" idx="2"/>
          </p:nvPr>
        </p:nvSpPr>
        <p:spPr>
          <a:xfrm>
            <a:off x="92075" y="746125"/>
            <a:ext cx="6621463" cy="3725863"/>
          </a:xfrm>
          <a:prstGeom prst="rect">
            <a:avLst/>
          </a:prstGeom>
          <a:noFill/>
          <a:ln w="12700">
            <a:solidFill>
              <a:prstClr val="black"/>
            </a:solidFill>
          </a:ln>
        </p:spPr>
        <p:txBody>
          <a:bodyPr vert="horz" lIns="95674" tIns="47837" rIns="95674" bIns="47837" rtlCol="0" anchor="ctr"/>
          <a:lstStyle/>
          <a:p>
            <a:endParaRPr lang="de-DE"/>
          </a:p>
        </p:txBody>
      </p:sp>
      <p:sp>
        <p:nvSpPr>
          <p:cNvPr id="5" name="Notes Placeholder 4"/>
          <p:cNvSpPr>
            <a:spLocks noGrp="1"/>
          </p:cNvSpPr>
          <p:nvPr>
            <p:ph type="body" sz="quarter" idx="3"/>
          </p:nvPr>
        </p:nvSpPr>
        <p:spPr>
          <a:xfrm>
            <a:off x="680562" y="4721185"/>
            <a:ext cx="5444490" cy="4472703"/>
          </a:xfrm>
          <a:prstGeom prst="rect">
            <a:avLst/>
          </a:prstGeom>
        </p:spPr>
        <p:txBody>
          <a:bodyPr vert="horz" lIns="95674" tIns="47837" rIns="95674" bIns="4783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6967"/>
          </a:xfrm>
          <a:prstGeom prst="rect">
            <a:avLst/>
          </a:prstGeom>
        </p:spPr>
        <p:txBody>
          <a:bodyPr vert="horz" lIns="95674" tIns="47837" rIns="95674" bIns="47837"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4940" y="9440647"/>
            <a:ext cx="2949099" cy="496967"/>
          </a:xfrm>
          <a:prstGeom prst="rect">
            <a:avLst/>
          </a:prstGeom>
        </p:spPr>
        <p:txBody>
          <a:bodyPr vert="horz" lIns="95674" tIns="47837" rIns="95674" bIns="47837"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623213213"/>
      </p:ext>
    </p:extLst>
  </p:cSld>
  <p:clrMap bg1="lt1" tx1="dk1" bg2="lt2" tx2="dk2" accent1="accent1" accent2="accent2" accent3="accent3" accent4="accent4" accent5="accent5" accent6="accent6" hlink="hlink" folHlink="folHlink"/>
  <p:notesStyle>
    <a:lvl1pPr marL="0" algn="l" defTabSz="677358" rtl="0" eaLnBrk="1" latinLnBrk="0" hangingPunct="1">
      <a:defRPr sz="869" kern="1200">
        <a:solidFill>
          <a:schemeClr val="tx1"/>
        </a:solidFill>
        <a:latin typeface="+mn-lt"/>
        <a:ea typeface="+mn-ea"/>
        <a:cs typeface="+mn-cs"/>
      </a:defRPr>
    </a:lvl1pPr>
    <a:lvl2pPr marL="338679" algn="l" defTabSz="677358" rtl="0" eaLnBrk="1" latinLnBrk="0" hangingPunct="1">
      <a:defRPr sz="869" kern="1200">
        <a:solidFill>
          <a:schemeClr val="tx1"/>
        </a:solidFill>
        <a:latin typeface="+mn-lt"/>
        <a:ea typeface="+mn-ea"/>
        <a:cs typeface="+mn-cs"/>
      </a:defRPr>
    </a:lvl2pPr>
    <a:lvl3pPr marL="677358" algn="l" defTabSz="677358" rtl="0" eaLnBrk="1" latinLnBrk="0" hangingPunct="1">
      <a:defRPr sz="869" kern="1200">
        <a:solidFill>
          <a:schemeClr val="tx1"/>
        </a:solidFill>
        <a:latin typeface="+mn-lt"/>
        <a:ea typeface="+mn-ea"/>
        <a:cs typeface="+mn-cs"/>
      </a:defRPr>
    </a:lvl3pPr>
    <a:lvl4pPr marL="1016037" algn="l" defTabSz="677358" rtl="0" eaLnBrk="1" latinLnBrk="0" hangingPunct="1">
      <a:defRPr sz="869" kern="1200">
        <a:solidFill>
          <a:schemeClr val="tx1"/>
        </a:solidFill>
        <a:latin typeface="+mn-lt"/>
        <a:ea typeface="+mn-ea"/>
        <a:cs typeface="+mn-cs"/>
      </a:defRPr>
    </a:lvl4pPr>
    <a:lvl5pPr marL="1354717" algn="l" defTabSz="677358" rtl="0" eaLnBrk="1" latinLnBrk="0" hangingPunct="1">
      <a:defRPr sz="869" kern="1200">
        <a:solidFill>
          <a:schemeClr val="tx1"/>
        </a:solidFill>
        <a:latin typeface="+mn-lt"/>
        <a:ea typeface="+mn-ea"/>
        <a:cs typeface="+mn-cs"/>
      </a:defRPr>
    </a:lvl5pPr>
    <a:lvl6pPr marL="1693396" algn="l" defTabSz="677358" rtl="0" eaLnBrk="1" latinLnBrk="0" hangingPunct="1">
      <a:defRPr sz="869" kern="1200">
        <a:solidFill>
          <a:schemeClr val="tx1"/>
        </a:solidFill>
        <a:latin typeface="+mn-lt"/>
        <a:ea typeface="+mn-ea"/>
        <a:cs typeface="+mn-cs"/>
      </a:defRPr>
    </a:lvl6pPr>
    <a:lvl7pPr marL="2032075" algn="l" defTabSz="677358" rtl="0" eaLnBrk="1" latinLnBrk="0" hangingPunct="1">
      <a:defRPr sz="869" kern="1200">
        <a:solidFill>
          <a:schemeClr val="tx1"/>
        </a:solidFill>
        <a:latin typeface="+mn-lt"/>
        <a:ea typeface="+mn-ea"/>
        <a:cs typeface="+mn-cs"/>
      </a:defRPr>
    </a:lvl7pPr>
    <a:lvl8pPr marL="2370755" algn="l" defTabSz="677358" rtl="0" eaLnBrk="1" latinLnBrk="0" hangingPunct="1">
      <a:defRPr sz="869" kern="1200">
        <a:solidFill>
          <a:schemeClr val="tx1"/>
        </a:solidFill>
        <a:latin typeface="+mn-lt"/>
        <a:ea typeface="+mn-ea"/>
        <a:cs typeface="+mn-cs"/>
      </a:defRPr>
    </a:lvl8pPr>
    <a:lvl9pPr marL="2709433" algn="l" defTabSz="677358" rtl="0" eaLnBrk="1" latinLnBrk="0" hangingPunct="1">
      <a:defRPr sz="869"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svg"/></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3.xml"/><Relationship Id="rId1" Type="http://schemas.openxmlformats.org/officeDocument/2006/relationships/tags" Target="../tags/tag120.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hyperlink" Target="http://www.youtube.com/capgeminimedia" TargetMode="External"/><Relationship Id="rId3" Type="http://schemas.openxmlformats.org/officeDocument/2006/relationships/oleObject" Target="../embeddings/oleObject15.bin"/><Relationship Id="rId7" Type="http://schemas.openxmlformats.org/officeDocument/2006/relationships/hyperlink" Target="http://www.linkedin.com/company/capgemini" TargetMode="External"/><Relationship Id="rId12" Type="http://schemas.openxmlformats.org/officeDocument/2006/relationships/image" Target="../media/image12.png"/><Relationship Id="rId17" Type="http://schemas.openxmlformats.org/officeDocument/2006/relationships/image" Target="../media/image15.png"/><Relationship Id="rId2" Type="http://schemas.openxmlformats.org/officeDocument/2006/relationships/slideMaster" Target="../slideMasters/slideMaster1.xml"/><Relationship Id="rId16" Type="http://schemas.openxmlformats.org/officeDocument/2006/relationships/image" Target="../media/image14.png"/><Relationship Id="rId1" Type="http://schemas.openxmlformats.org/officeDocument/2006/relationships/tags" Target="../tags/tag34.xml"/><Relationship Id="rId6" Type="http://schemas.openxmlformats.org/officeDocument/2006/relationships/hyperlink" Target="http://www.capgemini.com/about/how-we-work/the-collaborative-business-experiencetm" TargetMode="External"/><Relationship Id="rId11" Type="http://schemas.openxmlformats.org/officeDocument/2006/relationships/hyperlink" Target="http://www.twitter.com/capgemini" TargetMode="External"/><Relationship Id="rId5" Type="http://schemas.openxmlformats.org/officeDocument/2006/relationships/hyperlink" Target="http://www.capgemini.com/about/how-we-work/rightshorer" TargetMode="External"/><Relationship Id="rId15" Type="http://schemas.openxmlformats.org/officeDocument/2006/relationships/hyperlink" Target="http://www.facebook.com/capgemini" TargetMode="External"/><Relationship Id="rId10" Type="http://schemas.openxmlformats.org/officeDocument/2006/relationships/image" Target="../media/image11.png"/><Relationship Id="rId4" Type="http://schemas.openxmlformats.org/officeDocument/2006/relationships/image" Target="../media/image1.emf"/><Relationship Id="rId9" Type="http://schemas.openxmlformats.org/officeDocument/2006/relationships/hyperlink" Target="http://www.slideshare.net/capgemini" TargetMode="External"/><Relationship Id="rId1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8.emf"/></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8.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3.sv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3.svg"/><Relationship Id="rId2" Type="http://schemas.openxmlformats.org/officeDocument/2006/relationships/slideMaster" Target="../slideMasters/slideMaster2.xml"/><Relationship Id="rId1" Type="http://schemas.openxmlformats.org/officeDocument/2006/relationships/tags" Target="../tags/tag46.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52.xml"/><Relationship Id="rId4" Type="http://schemas.openxmlformats.org/officeDocument/2006/relationships/image" Target="../media/image3.svg"/></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oleObject" Target="../embeddings/oleObject31.bin"/><Relationship Id="rId5" Type="http://schemas.openxmlformats.org/officeDocument/2006/relationships/slideMaster" Target="../slideMasters/slideMaster2.xml"/><Relationship Id="rId4" Type="http://schemas.openxmlformats.org/officeDocument/2006/relationships/tags" Target="../tags/tag67.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32.bin"/><Relationship Id="rId5" Type="http://schemas.openxmlformats.org/officeDocument/2006/relationships/slideMaster" Target="../slideMasters/slideMaster2.xml"/><Relationship Id="rId4" Type="http://schemas.openxmlformats.org/officeDocument/2006/relationships/tags" Target="../tags/tag7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hyperlink" Target="http://www.youtube.com/capgeminimedia" TargetMode="External"/><Relationship Id="rId3" Type="http://schemas.openxmlformats.org/officeDocument/2006/relationships/oleObject" Target="../embeddings/oleObject34.bin"/><Relationship Id="rId7" Type="http://schemas.openxmlformats.org/officeDocument/2006/relationships/hyperlink" Target="http://www.linkedin.com/company/capgemini" TargetMode="External"/><Relationship Id="rId12" Type="http://schemas.openxmlformats.org/officeDocument/2006/relationships/image" Target="../media/image12.png"/><Relationship Id="rId17" Type="http://schemas.openxmlformats.org/officeDocument/2006/relationships/image" Target="../media/image15.png"/><Relationship Id="rId2" Type="http://schemas.openxmlformats.org/officeDocument/2006/relationships/slideMaster" Target="../slideMasters/slideMaster2.xml"/><Relationship Id="rId16" Type="http://schemas.openxmlformats.org/officeDocument/2006/relationships/image" Target="../media/image14.png"/><Relationship Id="rId1" Type="http://schemas.openxmlformats.org/officeDocument/2006/relationships/tags" Target="../tags/tag74.xml"/><Relationship Id="rId6" Type="http://schemas.openxmlformats.org/officeDocument/2006/relationships/hyperlink" Target="http://www.capgemini.com/about/how-we-work/the-collaborative-business-experiencetm" TargetMode="External"/><Relationship Id="rId11" Type="http://schemas.openxmlformats.org/officeDocument/2006/relationships/hyperlink" Target="http://www.twitter.com/capgemini" TargetMode="External"/><Relationship Id="rId5" Type="http://schemas.openxmlformats.org/officeDocument/2006/relationships/hyperlink" Target="http://www.capgemini.com/about/how-we-work/rightshorer" TargetMode="External"/><Relationship Id="rId15" Type="http://schemas.openxmlformats.org/officeDocument/2006/relationships/hyperlink" Target="http://www.facebook.com/capgemini" TargetMode="External"/><Relationship Id="rId10" Type="http://schemas.openxmlformats.org/officeDocument/2006/relationships/image" Target="../media/image11.png"/><Relationship Id="rId4" Type="http://schemas.openxmlformats.org/officeDocument/2006/relationships/image" Target="../media/image1.emf"/><Relationship Id="rId9" Type="http://schemas.openxmlformats.org/officeDocument/2006/relationships/hyperlink" Target="http://www.slideshare.net/capgemini" TargetMode="External"/><Relationship Id="rId14" Type="http://schemas.openxmlformats.org/officeDocument/2006/relationships/image" Target="../media/image13.pn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18.emf"/></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emf"/><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oleObject" Target="../embeddings/oleObject36.bin"/><Relationship Id="rId5" Type="http://schemas.openxmlformats.org/officeDocument/2006/relationships/slideMaster" Target="../slideMasters/slideMaster2.xml"/><Relationship Id="rId4" Type="http://schemas.openxmlformats.org/officeDocument/2006/relationships/tags" Target="../tags/tag7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83.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image" Target="../media/image3.sv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39.bin"/><Relationship Id="rId7" Type="http://schemas.openxmlformats.org/officeDocument/2006/relationships/image" Target="../media/image3.svg"/><Relationship Id="rId2" Type="http://schemas.openxmlformats.org/officeDocument/2006/relationships/slideMaster" Target="../slideMasters/slideMaster3.xml"/><Relationship Id="rId1" Type="http://schemas.openxmlformats.org/officeDocument/2006/relationships/tags" Target="../tags/tag84.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87.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8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89.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90.xml"/><Relationship Id="rId4" Type="http://schemas.openxmlformats.org/officeDocument/2006/relationships/image" Target="../media/image3.svg"/></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94.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3.xml"/><Relationship Id="rId1" Type="http://schemas.openxmlformats.org/officeDocument/2006/relationships/tags" Target="../tags/tag101.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1.emf"/><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oleObject" Target="../embeddings/oleObject48.bin"/><Relationship Id="rId5" Type="http://schemas.openxmlformats.org/officeDocument/2006/relationships/slideMaster" Target="../slideMasters/slideMaster3.xml"/><Relationship Id="rId4" Type="http://schemas.openxmlformats.org/officeDocument/2006/relationships/tags" Target="../tags/tag105.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1.emf"/><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oleObject" Target="../embeddings/oleObject49.bin"/><Relationship Id="rId5" Type="http://schemas.openxmlformats.org/officeDocument/2006/relationships/slideMaster" Target="../slideMasters/slideMaster3.xml"/><Relationship Id="rId4" Type="http://schemas.openxmlformats.org/officeDocument/2006/relationships/tags" Target="../tags/tag10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hyperlink" Target="http://www.youtube.com/capgeminimedia" TargetMode="External"/><Relationship Id="rId3" Type="http://schemas.openxmlformats.org/officeDocument/2006/relationships/oleObject" Target="../embeddings/oleObject51.bin"/><Relationship Id="rId7" Type="http://schemas.openxmlformats.org/officeDocument/2006/relationships/hyperlink" Target="http://www.linkedin.com/company/capgemini" TargetMode="External"/><Relationship Id="rId12" Type="http://schemas.openxmlformats.org/officeDocument/2006/relationships/image" Target="../media/image12.png"/><Relationship Id="rId17" Type="http://schemas.openxmlformats.org/officeDocument/2006/relationships/image" Target="../media/image15.png"/><Relationship Id="rId2" Type="http://schemas.openxmlformats.org/officeDocument/2006/relationships/slideMaster" Target="../slideMasters/slideMaster3.xml"/><Relationship Id="rId16" Type="http://schemas.openxmlformats.org/officeDocument/2006/relationships/image" Target="../media/image14.png"/><Relationship Id="rId1" Type="http://schemas.openxmlformats.org/officeDocument/2006/relationships/tags" Target="../tags/tag112.xml"/><Relationship Id="rId6" Type="http://schemas.openxmlformats.org/officeDocument/2006/relationships/hyperlink" Target="http://www.capgemini.com/about/how-we-work/the-collaborative-business-experiencetm" TargetMode="External"/><Relationship Id="rId11" Type="http://schemas.openxmlformats.org/officeDocument/2006/relationships/hyperlink" Target="http://www.twitter.com/capgemini" TargetMode="External"/><Relationship Id="rId5" Type="http://schemas.openxmlformats.org/officeDocument/2006/relationships/hyperlink" Target="http://www.capgemini.com/about/how-we-work/rightshorer" TargetMode="External"/><Relationship Id="rId15" Type="http://schemas.openxmlformats.org/officeDocument/2006/relationships/hyperlink" Target="http://www.facebook.com/capgemini" TargetMode="External"/><Relationship Id="rId10" Type="http://schemas.openxmlformats.org/officeDocument/2006/relationships/image" Target="../media/image11.png"/><Relationship Id="rId4" Type="http://schemas.openxmlformats.org/officeDocument/2006/relationships/image" Target="../media/image1.emf"/><Relationship Id="rId9" Type="http://schemas.openxmlformats.org/officeDocument/2006/relationships/hyperlink" Target="http://www.slideshare.net/capgemini" TargetMode="External"/><Relationship Id="rId14" Type="http://schemas.openxmlformats.org/officeDocument/2006/relationships/image" Target="../media/image13.png"/></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3.xml"/><Relationship Id="rId1" Type="http://schemas.openxmlformats.org/officeDocument/2006/relationships/tags" Target="../tags/tag113.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1.emf"/><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oleObject" Target="../embeddings/oleObject53.bin"/><Relationship Id="rId5" Type="http://schemas.openxmlformats.org/officeDocument/2006/relationships/slideMaster" Target="../slideMasters/slideMaster3.xml"/><Relationship Id="rId4" Type="http://schemas.openxmlformats.org/officeDocument/2006/relationships/tags" Target="../tags/tag117.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54.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EDEDED"/>
        </a:solidFill>
        <a:effectLst/>
      </p:bgPr>
    </p:bg>
    <p:spTree>
      <p:nvGrpSpPr>
        <p:cNvPr id="1" name=""/>
        <p:cNvGrpSpPr/>
        <p:nvPr/>
      </p:nvGrpSpPr>
      <p:grpSpPr>
        <a:xfrm>
          <a:off x="0" y="0"/>
          <a:ext cx="0" cy="0"/>
          <a:chOff x="0" y="0"/>
          <a:chExt cx="0" cy="0"/>
        </a:xfrm>
      </p:grpSpPr>
      <p:grpSp>
        <p:nvGrpSpPr>
          <p:cNvPr id="14" name="Group 13"/>
          <p:cNvGrpSpPr/>
          <p:nvPr userDrawn="1"/>
        </p:nvGrpSpPr>
        <p:grpSpPr>
          <a:xfrm>
            <a:off x="5149757" y="2453"/>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339025" y="3798121"/>
            <a:ext cx="6582043" cy="1159934"/>
          </a:xfrm>
        </p:spPr>
        <p:txBody>
          <a:bodyPr lIns="0" tIns="0" rIns="0" bIns="0" anchor="b">
            <a:normAutofit/>
          </a:bodyPr>
          <a:lstStyle>
            <a:lvl1pPr marL="0" indent="0" algn="r">
              <a:lnSpc>
                <a:spcPct val="100000"/>
              </a:lnSpc>
              <a:buNone/>
              <a:defRPr sz="5446">
                <a:solidFill>
                  <a:schemeClr val="bg2">
                    <a:lumMod val="40000"/>
                    <a:lumOff val="60000"/>
                  </a:schemeClr>
                </a:solidFill>
                <a:latin typeface="Segoe UI" panose="020B0502040204020203" pitchFamily="34" charset="0"/>
                <a:ea typeface="Verdana" panose="020B0604030504040204" pitchFamily="34" charset="0"/>
                <a:cs typeface="Segoe UI" panose="020B0502040204020203" pitchFamily="34" charset="0"/>
              </a:defRPr>
            </a:lvl1pPr>
            <a:lvl2pPr>
              <a:defRPr sz="3063">
                <a:solidFill>
                  <a:schemeClr val="bg1"/>
                </a:solidFill>
              </a:defRPr>
            </a:lvl2pPr>
          </a:lstStyle>
          <a:p>
            <a:pPr lvl="0"/>
            <a:r>
              <a:rPr lang="en-US" dirty="0"/>
              <a:t>Click to insert title</a:t>
            </a:r>
            <a:endParaRPr lang="pt-PT" dirty="0"/>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827197" y="5111406"/>
            <a:ext cx="6093872" cy="1595120"/>
          </a:xfrm>
        </p:spPr>
        <p:txBody>
          <a:bodyPr lIns="0" tIns="0" rIns="0" bIns="0">
            <a:normAutofit/>
          </a:bodyPr>
          <a:lstStyle>
            <a:lvl1pPr marL="0" indent="0" algn="r">
              <a:lnSpc>
                <a:spcPct val="100000"/>
              </a:lnSpc>
              <a:buNone/>
              <a:defRPr sz="3063">
                <a:solidFill>
                  <a:schemeClr val="bg2">
                    <a:lumMod val="40000"/>
                    <a:lumOff val="60000"/>
                  </a:schemeClr>
                </a:solidFill>
                <a:latin typeface="Segoe UI" panose="020B0502040204020203" pitchFamily="34" charset="0"/>
                <a:ea typeface="Verdana" panose="020B0604030504040204" pitchFamily="34" charset="0"/>
                <a:cs typeface="Segoe UI" panose="020B0502040204020203" pitchFamily="34" charset="0"/>
              </a:defRPr>
            </a:lvl1pPr>
            <a:lvl2pPr>
              <a:defRPr sz="2042">
                <a:solidFill>
                  <a:schemeClr val="bg1"/>
                </a:solidFill>
              </a:defRPr>
            </a:lvl2pPr>
          </a:lstStyle>
          <a:p>
            <a:pPr lvl="0"/>
            <a:r>
              <a:rPr lang="en-US" dirty="0"/>
              <a:t>Click to insert presenter, location, and date</a:t>
            </a:r>
            <a:endParaRPr lang="pt-PT" dirty="0"/>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43986" y="539754"/>
            <a:ext cx="3087428" cy="688815"/>
          </a:xfrm>
          <a:prstGeom prst="rect">
            <a:avLst/>
          </a:prstGeom>
        </p:spPr>
      </p:pic>
      <p:graphicFrame>
        <p:nvGraphicFramePr>
          <p:cNvPr id="5" name="Object 4" hidden="1"/>
          <p:cNvGraphicFramePr>
            <a:graphicFrameLocks noChangeAspect="1"/>
          </p:cNvGraphicFramePr>
          <p:nvPr>
            <p:custDataLst>
              <p:tags r:id="rId1"/>
            </p:custDataLst>
          </p:nvPr>
        </p:nvGraphicFramePr>
        <p:xfrm>
          <a:off x="3" y="2"/>
          <a:ext cx="195384" cy="158751"/>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2"/>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sp>
        <p:nvSpPr>
          <p:cNvPr id="1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4598796" y="-726823"/>
            <a:ext cx="6866376" cy="8320025"/>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5134707 w 6857999"/>
              <a:gd name="connsiteY3" fmla="*/ 3984163 h 6240016"/>
              <a:gd name="connsiteX4" fmla="*/ 2767903 w 6857999"/>
              <a:gd name="connsiteY4" fmla="*/ 5342723 h 6240016"/>
              <a:gd name="connsiteX5" fmla="*/ 1497189 w 6857999"/>
              <a:gd name="connsiteY5" fmla="*/ 6201822 h 6240016"/>
              <a:gd name="connsiteX6" fmla="*/ 1393480 w 6857999"/>
              <a:gd name="connsiteY6" fmla="*/ 6240016 h 6240016"/>
              <a:gd name="connsiteX7" fmla="*/ 0 w 6857999"/>
              <a:gd name="connsiteY7" fmla="*/ 618342 h 6240016"/>
              <a:gd name="connsiteX8" fmla="*/ 0 w 6857999"/>
              <a:gd name="connsiteY8" fmla="*/ 6240016 h 6240016"/>
              <a:gd name="connsiteX9" fmla="*/ 921827 w 6857999"/>
              <a:gd name="connsiteY9" fmla="*/ 6240016 h 6240016"/>
              <a:gd name="connsiteX10" fmla="*/ 877464 w 6857999"/>
              <a:gd name="connsiteY10" fmla="*/ 6206986 h 6240016"/>
              <a:gd name="connsiteX11" fmla="*/ 1720124 w 6857999"/>
              <a:gd name="connsiteY11" fmla="*/ 3319666 h 6240016"/>
              <a:gd name="connsiteX12" fmla="*/ 1778012 w 6857999"/>
              <a:gd name="connsiteY12" fmla="*/ 0 h 6240016"/>
              <a:gd name="connsiteX13" fmla="*/ 36658 w 6857999"/>
              <a:gd name="connsiteY13" fmla="*/ 619001 h 6240016"/>
              <a:gd name="connsiteX14" fmla="*/ 0 w 6857999"/>
              <a:gd name="connsiteY14" fmla="*/ 618342 h 6240016"/>
              <a:gd name="connsiteX0" fmla="*/ 1393480 w 5134707"/>
              <a:gd name="connsiteY0" fmla="*/ 6240016 h 6240016"/>
              <a:gd name="connsiteX1" fmla="*/ 5099537 w 5134707"/>
              <a:gd name="connsiteY1" fmla="*/ 6234993 h 6240016"/>
              <a:gd name="connsiteX2" fmla="*/ 5134707 w 5134707"/>
              <a:gd name="connsiteY2" fmla="*/ 3984163 h 6240016"/>
              <a:gd name="connsiteX3" fmla="*/ 2767903 w 5134707"/>
              <a:gd name="connsiteY3" fmla="*/ 5342723 h 6240016"/>
              <a:gd name="connsiteX4" fmla="*/ 1497189 w 5134707"/>
              <a:gd name="connsiteY4" fmla="*/ 6201822 h 6240016"/>
              <a:gd name="connsiteX5" fmla="*/ 1393480 w 5134707"/>
              <a:gd name="connsiteY5" fmla="*/ 6240016 h 6240016"/>
              <a:gd name="connsiteX6" fmla="*/ 0 w 5134707"/>
              <a:gd name="connsiteY6" fmla="*/ 618342 h 6240016"/>
              <a:gd name="connsiteX7" fmla="*/ 0 w 5134707"/>
              <a:gd name="connsiteY7" fmla="*/ 6240016 h 6240016"/>
              <a:gd name="connsiteX8" fmla="*/ 921827 w 5134707"/>
              <a:gd name="connsiteY8" fmla="*/ 6240016 h 6240016"/>
              <a:gd name="connsiteX9" fmla="*/ 877464 w 5134707"/>
              <a:gd name="connsiteY9" fmla="*/ 6206986 h 6240016"/>
              <a:gd name="connsiteX10" fmla="*/ 1720124 w 5134707"/>
              <a:gd name="connsiteY10" fmla="*/ 3319666 h 6240016"/>
              <a:gd name="connsiteX11" fmla="*/ 1778012 w 5134707"/>
              <a:gd name="connsiteY11" fmla="*/ 0 h 6240016"/>
              <a:gd name="connsiteX12" fmla="*/ 36658 w 5134707"/>
              <a:gd name="connsiteY12" fmla="*/ 619001 h 6240016"/>
              <a:gd name="connsiteX13" fmla="*/ 0 w 5134707"/>
              <a:gd name="connsiteY13" fmla="*/ 618342 h 6240016"/>
              <a:gd name="connsiteX0" fmla="*/ 1393480 w 5149779"/>
              <a:gd name="connsiteY0" fmla="*/ 6240016 h 6240016"/>
              <a:gd name="connsiteX1" fmla="*/ 5149779 w 5149779"/>
              <a:gd name="connsiteY1" fmla="*/ 6234993 h 6240016"/>
              <a:gd name="connsiteX2" fmla="*/ 5134707 w 5149779"/>
              <a:gd name="connsiteY2" fmla="*/ 3984163 h 6240016"/>
              <a:gd name="connsiteX3" fmla="*/ 2767903 w 5149779"/>
              <a:gd name="connsiteY3" fmla="*/ 5342723 h 6240016"/>
              <a:gd name="connsiteX4" fmla="*/ 1497189 w 5149779"/>
              <a:gd name="connsiteY4" fmla="*/ 6201822 h 6240016"/>
              <a:gd name="connsiteX5" fmla="*/ 1393480 w 5149779"/>
              <a:gd name="connsiteY5" fmla="*/ 6240016 h 6240016"/>
              <a:gd name="connsiteX6" fmla="*/ 0 w 5149779"/>
              <a:gd name="connsiteY6" fmla="*/ 618342 h 6240016"/>
              <a:gd name="connsiteX7" fmla="*/ 0 w 5149779"/>
              <a:gd name="connsiteY7" fmla="*/ 6240016 h 6240016"/>
              <a:gd name="connsiteX8" fmla="*/ 921827 w 5149779"/>
              <a:gd name="connsiteY8" fmla="*/ 6240016 h 6240016"/>
              <a:gd name="connsiteX9" fmla="*/ 877464 w 5149779"/>
              <a:gd name="connsiteY9" fmla="*/ 6206986 h 6240016"/>
              <a:gd name="connsiteX10" fmla="*/ 1720124 w 5149779"/>
              <a:gd name="connsiteY10" fmla="*/ 3319666 h 6240016"/>
              <a:gd name="connsiteX11" fmla="*/ 1778012 w 5149779"/>
              <a:gd name="connsiteY11" fmla="*/ 0 h 6240016"/>
              <a:gd name="connsiteX12" fmla="*/ 36658 w 5149779"/>
              <a:gd name="connsiteY12" fmla="*/ 619001 h 6240016"/>
              <a:gd name="connsiteX13" fmla="*/ 0 w 5149779"/>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9780" h="6240016">
                <a:moveTo>
                  <a:pt x="1393480" y="6240016"/>
                </a:moveTo>
                <a:lnTo>
                  <a:pt x="5149779" y="6234993"/>
                </a:lnTo>
                <a:cubicBezTo>
                  <a:pt x="5149779" y="5484716"/>
                  <a:pt x="5149780" y="4734440"/>
                  <a:pt x="5149780" y="3984163"/>
                </a:cubicBezTo>
                <a:cubicBezTo>
                  <a:pt x="3520588" y="4384034"/>
                  <a:pt x="3215893" y="4963068"/>
                  <a:pt x="2767903" y="5342723"/>
                </a:cubicBezTo>
                <a:cubicBezTo>
                  <a:pt x="2224582" y="5803167"/>
                  <a:pt x="1804503" y="6071896"/>
                  <a:pt x="1497189" y="6201822"/>
                </a:cubicBezTo>
                <a:lnTo>
                  <a:pt x="1393480" y="6240016"/>
                </a:ln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lnTo>
                  <a:pt x="0" y="618342"/>
                </a:lnTo>
                <a:close/>
              </a:path>
            </a:pathLst>
          </a:custGeom>
          <a:solidFill>
            <a:srgbClr val="8EC63E"/>
          </a:solidFill>
          <a:ln>
            <a:noFill/>
          </a:ln>
        </p:spPr>
        <p:txBody>
          <a:bodyPr vert="horz" wrap="square" lIns="155610" tIns="77805" rIns="155610" bIns="77805" numCol="1" anchor="t" anchorCtr="0" compatLnSpc="1">
            <a:prstTxWarp prst="textNoShape">
              <a:avLst/>
            </a:prstTxWarp>
            <a:noAutofit/>
          </a:bodyPr>
          <a:lstStyle/>
          <a:p>
            <a:endParaRPr lang="en-US" sz="5524" dirty="0"/>
          </a:p>
        </p:txBody>
      </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3"/>
            <a:ext cx="6121400" cy="1199092"/>
          </a:xfrm>
          <a:prstGeom prst="rect">
            <a:avLst/>
          </a:prstGeom>
        </p:spPr>
        <p:txBody>
          <a:bodyPr vert="horz" lIns="0" tIns="33059" rIns="66118" bIns="33059" rtlCol="0" anchor="ctr" anchorCtr="0">
            <a:noAutofit/>
          </a:bodyPr>
          <a:lstStyle>
            <a:lvl1pPr algn="l" defTabSz="1556000" rtl="0" eaLnBrk="1" latinLnBrk="0" hangingPunct="1">
              <a:spcBef>
                <a:spcPct val="0"/>
              </a:spcBef>
              <a:buNone/>
              <a:defRPr lang="en-US" sz="4765"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6" name="Text Placeholder 5"/>
          <p:cNvSpPr>
            <a:spLocks noGrp="1"/>
          </p:cNvSpPr>
          <p:nvPr>
            <p:ph type="body" sz="quarter" idx="10"/>
          </p:nvPr>
        </p:nvSpPr>
        <p:spPr>
          <a:xfrm>
            <a:off x="716280" y="5706995"/>
            <a:ext cx="6121400" cy="410369"/>
          </a:xfrm>
        </p:spPr>
        <p:txBody>
          <a:bodyPr lIns="0"/>
          <a:lstStyle>
            <a:lvl1pPr marL="0" indent="0" algn="l">
              <a:buNone/>
              <a:defRPr sz="3403">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spTree>
    <p:extLst>
      <p:ext uri="{BB962C8B-B14F-4D97-AF65-F5344CB8AC3E}">
        <p14:creationId xmlns:p14="http://schemas.microsoft.com/office/powerpoint/2010/main" val="128159473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Content &amp; Leadlin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 y="2"/>
          <a:ext cx="180999"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tângulo 43">
            <a:extLst>
              <a:ext uri="{FF2B5EF4-FFF2-40B4-BE49-F238E27FC236}">
                <a16:creationId xmlns:a16="http://schemas.microsoft.com/office/drawing/2014/main" id="{C57BA27C-3FDC-45B5-A794-9DFDFB0AE66C}"/>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2" name="Retângulo 43">
            <a:extLst>
              <a:ext uri="{FF2B5EF4-FFF2-40B4-BE49-F238E27FC236}">
                <a16:creationId xmlns:a16="http://schemas.microsoft.com/office/drawing/2014/main" id="{11DE3A93-B456-4549-B895-2B762D75D127}"/>
              </a:ext>
            </a:extLst>
          </p:cNvPr>
          <p:cNvSpPr/>
          <p:nvPr userDrawn="1"/>
        </p:nvSpPr>
        <p:spPr>
          <a:xfrm>
            <a:off x="9434914" y="6638544"/>
            <a:ext cx="2223686" cy="132658"/>
          </a:xfrm>
          <a:prstGeom prst="rect">
            <a:avLst/>
          </a:prstGeom>
        </p:spPr>
        <p:txBody>
          <a:bodyPr wrap="none" lIns="0" tIns="0" rIns="0" bIns="0" anchor="ctr">
            <a:noAutofit/>
          </a:bodyPr>
          <a:lstStyle/>
          <a:p>
            <a:pPr algn="r"/>
            <a:r>
              <a:rPr lang="en-US" sz="700" dirty="0">
                <a:solidFill>
                  <a:schemeClr val="bg2">
                    <a:lumMod val="50000"/>
                  </a:schemeClr>
                </a:solidFill>
                <a:cs typeface="Arial" panose="020B0604020202020204" pitchFamily="34" charset="0"/>
              </a:rPr>
              <a:t>The information contained in this document is proprietary. Copyright © 2018 Capgemini. All rights reserved.</a:t>
            </a:r>
          </a:p>
        </p:txBody>
      </p:sp>
    </p:spTree>
    <p:extLst>
      <p:ext uri="{BB962C8B-B14F-4D97-AF65-F5344CB8AC3E}">
        <p14:creationId xmlns:p14="http://schemas.microsoft.com/office/powerpoint/2010/main" val="320570513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Intro slide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E4AFC-7FED-0F40-AFE1-8F77785F4A96}"/>
              </a:ext>
            </a:extLst>
          </p:cNvPr>
          <p:cNvSpPr>
            <a:spLocks noGrp="1"/>
          </p:cNvSpPr>
          <p:nvPr>
            <p:ph type="ctrTitle" hasCustomPrompt="1"/>
          </p:nvPr>
        </p:nvSpPr>
        <p:spPr>
          <a:xfrm>
            <a:off x="517660" y="2169928"/>
            <a:ext cx="8361498" cy="2686539"/>
          </a:xfrm>
        </p:spPr>
        <p:txBody>
          <a:bodyPr wrap="square" lIns="0" rIns="90000" anchor="t">
            <a:noAutofit/>
          </a:bodyPr>
          <a:lstStyle>
            <a:lvl1pPr algn="l">
              <a:lnSpc>
                <a:spcPct val="100000"/>
              </a:lnSpc>
              <a:defRPr sz="5400" b="0" i="0" spc="0" baseline="0">
                <a:solidFill>
                  <a:schemeClr val="bg2"/>
                </a:solidFill>
                <a:latin typeface="GE Inspira Sans" panose="020B0503060000000003" pitchFamily="34" charset="77"/>
              </a:defRPr>
            </a:lvl1pPr>
          </a:lstStyle>
          <a:p>
            <a:r>
              <a:rPr lang="en-US" dirty="0"/>
              <a:t>GE’s presentation</a:t>
            </a:r>
            <a:br>
              <a:rPr lang="en-US" dirty="0"/>
            </a:br>
            <a:r>
              <a:rPr lang="en-US" dirty="0"/>
              <a:t>template title example</a:t>
            </a:r>
            <a:endParaRPr lang="en-GB" dirty="0"/>
          </a:p>
        </p:txBody>
      </p:sp>
      <p:sp>
        <p:nvSpPr>
          <p:cNvPr id="15" name="Title 1">
            <a:extLst>
              <a:ext uri="{FF2B5EF4-FFF2-40B4-BE49-F238E27FC236}">
                <a16:creationId xmlns:a16="http://schemas.microsoft.com/office/drawing/2014/main" id="{1EDA6804-5DFF-0F47-9799-B370D29E52FF}"/>
              </a:ext>
            </a:extLst>
          </p:cNvPr>
          <p:cNvSpPr txBox="1">
            <a:spLocks/>
          </p:cNvSpPr>
          <p:nvPr userDrawn="1"/>
        </p:nvSpPr>
        <p:spPr>
          <a:xfrm>
            <a:off x="515938" y="758457"/>
            <a:ext cx="8361498" cy="2915786"/>
          </a:xfrm>
          <a:prstGeom prst="rect">
            <a:avLst/>
          </a:prstGeom>
        </p:spPr>
        <p:txBody>
          <a:bodyPr vert="horz" wrap="square" lIns="0" tIns="45720" rIns="90000" bIns="45720" rtlCol="0" anchor="t">
            <a:noAutofit/>
          </a:bodyPr>
          <a:lstStyle>
            <a:lvl1pPr algn="l" defTabSz="914400" rtl="0" eaLnBrk="1" latinLnBrk="0" hangingPunct="1">
              <a:lnSpc>
                <a:spcPts val="7200"/>
              </a:lnSpc>
              <a:spcBef>
                <a:spcPct val="0"/>
              </a:spcBef>
              <a:buNone/>
              <a:defRPr sz="5400" b="0" i="0" kern="1200" spc="-100" baseline="0">
                <a:solidFill>
                  <a:schemeClr val="bg1"/>
                </a:solidFill>
                <a:latin typeface="GE Inspira Sans" panose="020B0503060000000003" pitchFamily="34" charset="77"/>
                <a:ea typeface="+mj-ea"/>
                <a:cs typeface="+mj-cs"/>
              </a:defRPr>
            </a:lvl1pPr>
          </a:lstStyle>
          <a:p>
            <a:endParaRPr lang="en-GB" dirty="0"/>
          </a:p>
        </p:txBody>
      </p:sp>
      <p:sp>
        <p:nvSpPr>
          <p:cNvPr id="16" name="Date Placeholder 3">
            <a:extLst>
              <a:ext uri="{FF2B5EF4-FFF2-40B4-BE49-F238E27FC236}">
                <a16:creationId xmlns:a16="http://schemas.microsoft.com/office/drawing/2014/main" id="{6C155388-2ED0-124B-A584-E6A3D9F997DC}"/>
              </a:ext>
            </a:extLst>
          </p:cNvPr>
          <p:cNvSpPr>
            <a:spLocks noGrp="1"/>
          </p:cNvSpPr>
          <p:nvPr>
            <p:ph type="dt" sz="half" idx="2"/>
          </p:nvPr>
        </p:nvSpPr>
        <p:spPr>
          <a:xfrm>
            <a:off x="517170" y="1738459"/>
            <a:ext cx="8361498" cy="365125"/>
          </a:xfrm>
          <a:prstGeom prst="rect">
            <a:avLst/>
          </a:prstGeom>
        </p:spPr>
        <p:txBody>
          <a:bodyPr vert="horz" lIns="0" tIns="0" rIns="0" bIns="0" rtlCol="0" anchor="ctr"/>
          <a:lstStyle>
            <a:lvl1pPr algn="l">
              <a:defRPr sz="1100" b="1" i="0" cap="none" spc="200" baseline="0">
                <a:solidFill>
                  <a:schemeClr val="bg2"/>
                </a:solidFill>
                <a:latin typeface="GE Inspira Sans" panose="020B0503060000000003" pitchFamily="34" charset="77"/>
              </a:defRPr>
            </a:lvl1pPr>
          </a:lstStyle>
          <a:p>
            <a:endParaRPr lang="en-GB" dirty="0"/>
          </a:p>
        </p:txBody>
      </p:sp>
      <p:sp>
        <p:nvSpPr>
          <p:cNvPr id="7" name="Footer Placeholder 4">
            <a:extLst>
              <a:ext uri="{FF2B5EF4-FFF2-40B4-BE49-F238E27FC236}">
                <a16:creationId xmlns:a16="http://schemas.microsoft.com/office/drawing/2014/main" id="{FF4E29F6-9A72-49D8-84A2-F9001EF83BA3}"/>
              </a:ext>
            </a:extLst>
          </p:cNvPr>
          <p:cNvSpPr>
            <a:spLocks noGrp="1"/>
          </p:cNvSpPr>
          <p:nvPr>
            <p:ph type="ftr" sz="quarter" idx="19"/>
          </p:nvPr>
        </p:nvSpPr>
        <p:spPr>
          <a:xfrm>
            <a:off x="517527" y="6375870"/>
            <a:ext cx="3983325" cy="365125"/>
          </a:xfrm>
        </p:spPr>
        <p:txBody>
          <a:bodyPr/>
          <a:lstStyle>
            <a:lvl1pPr>
              <a:defRPr b="0" spc="0">
                <a:solidFill>
                  <a:schemeClr val="accent2"/>
                </a:solidFill>
              </a:defRPr>
            </a:lvl1pPr>
          </a:lstStyle>
          <a:p>
            <a:r>
              <a:rPr lang="en-GB" dirty="0"/>
              <a:t>Presentation confidentiality disclosure.</a:t>
            </a:r>
          </a:p>
        </p:txBody>
      </p:sp>
      <p:sp>
        <p:nvSpPr>
          <p:cNvPr id="11" name="Freeform 5">
            <a:extLst>
              <a:ext uri="{FF2B5EF4-FFF2-40B4-BE49-F238E27FC236}">
                <a16:creationId xmlns:a16="http://schemas.microsoft.com/office/drawing/2014/main" id="{AE9C4F1F-1316-4CFE-9DDC-C2CB9EC5CDC4}"/>
              </a:ext>
            </a:extLst>
          </p:cNvPr>
          <p:cNvSpPr>
            <a:spLocks noEditPoints="1"/>
          </p:cNvSpPr>
          <p:nvPr userDrawn="1"/>
        </p:nvSpPr>
        <p:spPr bwMode="auto">
          <a:xfrm>
            <a:off x="10902186" y="512764"/>
            <a:ext cx="773877" cy="773426"/>
          </a:xfrm>
          <a:custGeom>
            <a:avLst/>
            <a:gdLst>
              <a:gd name="T0" fmla="*/ 2386 w 5760"/>
              <a:gd name="T1" fmla="*/ 3095 h 5760"/>
              <a:gd name="T2" fmla="*/ 1754 w 5760"/>
              <a:gd name="T3" fmla="*/ 4131 h 5760"/>
              <a:gd name="T4" fmla="*/ 2386 w 5760"/>
              <a:gd name="T5" fmla="*/ 3095 h 5760"/>
              <a:gd name="T6" fmla="*/ 2480 w 5760"/>
              <a:gd name="T7" fmla="*/ 1601 h 5760"/>
              <a:gd name="T8" fmla="*/ 2019 w 5760"/>
              <a:gd name="T9" fmla="*/ 2248 h 5760"/>
              <a:gd name="T10" fmla="*/ 2480 w 5760"/>
              <a:gd name="T11" fmla="*/ 1601 h 5760"/>
              <a:gd name="T12" fmla="*/ 3894 w 5760"/>
              <a:gd name="T13" fmla="*/ 1634 h 5760"/>
              <a:gd name="T14" fmla="*/ 3527 w 5760"/>
              <a:gd name="T15" fmla="*/ 2129 h 5760"/>
              <a:gd name="T16" fmla="*/ 3894 w 5760"/>
              <a:gd name="T17" fmla="*/ 1634 h 5760"/>
              <a:gd name="T18" fmla="*/ 4482 w 5760"/>
              <a:gd name="T19" fmla="*/ 3645 h 5760"/>
              <a:gd name="T20" fmla="*/ 2889 w 5760"/>
              <a:gd name="T21" fmla="*/ 3501 h 5760"/>
              <a:gd name="T22" fmla="*/ 3375 w 5760"/>
              <a:gd name="T23" fmla="*/ 2488 h 5760"/>
              <a:gd name="T24" fmla="*/ 2536 w 5760"/>
              <a:gd name="T25" fmla="*/ 3678 h 5760"/>
              <a:gd name="T26" fmla="*/ 1293 w 5760"/>
              <a:gd name="T27" fmla="*/ 3916 h 5760"/>
              <a:gd name="T28" fmla="*/ 2417 w 5760"/>
              <a:gd name="T29" fmla="*/ 2830 h 5760"/>
              <a:gd name="T30" fmla="*/ 2121 w 5760"/>
              <a:gd name="T31" fmla="*/ 2791 h 5760"/>
              <a:gd name="T32" fmla="*/ 1387 w 5760"/>
              <a:gd name="T33" fmla="*/ 2065 h 5760"/>
              <a:gd name="T34" fmla="*/ 1643 w 5760"/>
              <a:gd name="T35" fmla="*/ 1794 h 5760"/>
              <a:gd name="T36" fmla="*/ 1779 w 5760"/>
              <a:gd name="T37" fmla="*/ 2272 h 5760"/>
              <a:gd name="T38" fmla="*/ 2712 w 5760"/>
              <a:gd name="T39" fmla="*/ 1579 h 5760"/>
              <a:gd name="T40" fmla="*/ 2170 w 5760"/>
              <a:gd name="T41" fmla="*/ 2592 h 5760"/>
              <a:gd name="T42" fmla="*/ 2817 w 5760"/>
              <a:gd name="T43" fmla="*/ 1985 h 5760"/>
              <a:gd name="T44" fmla="*/ 2688 w 5760"/>
              <a:gd name="T45" fmla="*/ 2463 h 5760"/>
              <a:gd name="T46" fmla="*/ 3295 w 5760"/>
              <a:gd name="T47" fmla="*/ 2297 h 5760"/>
              <a:gd name="T48" fmla="*/ 3853 w 5760"/>
              <a:gd name="T49" fmla="*/ 1322 h 5760"/>
              <a:gd name="T50" fmla="*/ 3574 w 5760"/>
              <a:gd name="T51" fmla="*/ 2352 h 5760"/>
              <a:gd name="T52" fmla="*/ 3900 w 5760"/>
              <a:gd name="T53" fmla="*/ 2471 h 5760"/>
              <a:gd name="T54" fmla="*/ 3861 w 5760"/>
              <a:gd name="T55" fmla="*/ 2728 h 5760"/>
              <a:gd name="T56" fmla="*/ 3182 w 5760"/>
              <a:gd name="T57" fmla="*/ 3468 h 5760"/>
              <a:gd name="T58" fmla="*/ 4203 w 5760"/>
              <a:gd name="T59" fmla="*/ 3645 h 5760"/>
              <a:gd name="T60" fmla="*/ 3750 w 5760"/>
              <a:gd name="T61" fmla="*/ 3429 h 5760"/>
              <a:gd name="T62" fmla="*/ 3750 w 5760"/>
              <a:gd name="T63" fmla="*/ 3813 h 5760"/>
              <a:gd name="T64" fmla="*/ 3949 w 5760"/>
              <a:gd name="T65" fmla="*/ 3015 h 5760"/>
              <a:gd name="T66" fmla="*/ 4482 w 5760"/>
              <a:gd name="T67" fmla="*/ 3645 h 5760"/>
              <a:gd name="T68" fmla="*/ 5449 w 5760"/>
              <a:gd name="T69" fmla="*/ 2880 h 5760"/>
              <a:gd name="T70" fmla="*/ 3406 w 5760"/>
              <a:gd name="T71" fmla="*/ 621 h 5760"/>
              <a:gd name="T72" fmla="*/ 2513 w 5760"/>
              <a:gd name="T73" fmla="*/ 693 h 5760"/>
              <a:gd name="T74" fmla="*/ 3685 w 5760"/>
              <a:gd name="T75" fmla="*/ 469 h 5760"/>
              <a:gd name="T76" fmla="*/ 2880 w 5760"/>
              <a:gd name="T77" fmla="*/ 309 h 5760"/>
              <a:gd name="T78" fmla="*/ 622 w 5760"/>
              <a:gd name="T79" fmla="*/ 2352 h 5760"/>
              <a:gd name="T80" fmla="*/ 694 w 5760"/>
              <a:gd name="T81" fmla="*/ 3247 h 5760"/>
              <a:gd name="T82" fmla="*/ 462 w 5760"/>
              <a:gd name="T83" fmla="*/ 2073 h 5760"/>
              <a:gd name="T84" fmla="*/ 310 w 5760"/>
              <a:gd name="T85" fmla="*/ 2880 h 5760"/>
              <a:gd name="T86" fmla="*/ 2353 w 5760"/>
              <a:gd name="T87" fmla="*/ 5144 h 5760"/>
              <a:gd name="T88" fmla="*/ 3248 w 5760"/>
              <a:gd name="T89" fmla="*/ 5072 h 5760"/>
              <a:gd name="T90" fmla="*/ 2074 w 5760"/>
              <a:gd name="T91" fmla="*/ 5296 h 5760"/>
              <a:gd name="T92" fmla="*/ 2880 w 5760"/>
              <a:gd name="T93" fmla="*/ 5448 h 5760"/>
              <a:gd name="T94" fmla="*/ 5137 w 5760"/>
              <a:gd name="T95" fmla="*/ 3413 h 5760"/>
              <a:gd name="T96" fmla="*/ 5065 w 5760"/>
              <a:gd name="T97" fmla="*/ 2512 h 5760"/>
              <a:gd name="T98" fmla="*/ 5297 w 5760"/>
              <a:gd name="T99" fmla="*/ 3692 h 5760"/>
              <a:gd name="T100" fmla="*/ 5449 w 5760"/>
              <a:gd name="T101" fmla="*/ 2880 h 5760"/>
              <a:gd name="T102" fmla="*/ 5623 w 5760"/>
              <a:gd name="T103" fmla="*/ 2880 h 5760"/>
              <a:gd name="T104" fmla="*/ 2880 w 5760"/>
              <a:gd name="T105" fmla="*/ 5622 h 5760"/>
              <a:gd name="T106" fmla="*/ 2880 w 5760"/>
              <a:gd name="T107" fmla="*/ 135 h 5760"/>
              <a:gd name="T108" fmla="*/ 5623 w 5760"/>
              <a:gd name="T109" fmla="*/ 2880 h 5760"/>
              <a:gd name="T110" fmla="*/ 5760 w 5760"/>
              <a:gd name="T111" fmla="*/ 2880 h 5760"/>
              <a:gd name="T112" fmla="*/ 0 w 5760"/>
              <a:gd name="T113" fmla="*/ 2880 h 5760"/>
              <a:gd name="T114" fmla="*/ 5760 w 5760"/>
              <a:gd name="T115" fmla="*/ 288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0" h="5760">
                <a:moveTo>
                  <a:pt x="2386" y="3095"/>
                </a:moveTo>
                <a:lnTo>
                  <a:pt x="2386" y="3095"/>
                </a:lnTo>
                <a:cubicBezTo>
                  <a:pt x="2027" y="3269"/>
                  <a:pt x="1572" y="3581"/>
                  <a:pt x="1572" y="3924"/>
                </a:cubicBezTo>
                <a:cubicBezTo>
                  <a:pt x="1572" y="4051"/>
                  <a:pt x="1635" y="4131"/>
                  <a:pt x="1754" y="4131"/>
                </a:cubicBezTo>
                <a:cubicBezTo>
                  <a:pt x="2105" y="4131"/>
                  <a:pt x="2320" y="3573"/>
                  <a:pt x="2386" y="3095"/>
                </a:cubicBezTo>
                <a:lnTo>
                  <a:pt x="2386" y="3095"/>
                </a:lnTo>
                <a:close/>
                <a:moveTo>
                  <a:pt x="2480" y="1601"/>
                </a:moveTo>
                <a:lnTo>
                  <a:pt x="2480" y="1601"/>
                </a:lnTo>
                <a:cubicBezTo>
                  <a:pt x="2480" y="1563"/>
                  <a:pt x="2458" y="1546"/>
                  <a:pt x="2425" y="1546"/>
                </a:cubicBezTo>
                <a:cubicBezTo>
                  <a:pt x="2257" y="1546"/>
                  <a:pt x="2019" y="1985"/>
                  <a:pt x="2019" y="2248"/>
                </a:cubicBezTo>
                <a:cubicBezTo>
                  <a:pt x="2281" y="2104"/>
                  <a:pt x="2480" y="1778"/>
                  <a:pt x="2480" y="1601"/>
                </a:cubicBezTo>
                <a:lnTo>
                  <a:pt x="2480" y="1601"/>
                </a:lnTo>
                <a:close/>
                <a:moveTo>
                  <a:pt x="3894" y="1634"/>
                </a:moveTo>
                <a:lnTo>
                  <a:pt x="3894" y="1634"/>
                </a:lnTo>
                <a:cubicBezTo>
                  <a:pt x="3894" y="1595"/>
                  <a:pt x="3885" y="1546"/>
                  <a:pt x="3836" y="1546"/>
                </a:cubicBezTo>
                <a:cubicBezTo>
                  <a:pt x="3717" y="1546"/>
                  <a:pt x="3527" y="1803"/>
                  <a:pt x="3527" y="2129"/>
                </a:cubicBezTo>
                <a:cubicBezTo>
                  <a:pt x="3765" y="1921"/>
                  <a:pt x="3894" y="1745"/>
                  <a:pt x="3894" y="1634"/>
                </a:cubicBezTo>
                <a:lnTo>
                  <a:pt x="3894" y="1634"/>
                </a:lnTo>
                <a:close/>
                <a:moveTo>
                  <a:pt x="4482" y="3645"/>
                </a:moveTo>
                <a:lnTo>
                  <a:pt x="4482" y="3645"/>
                </a:lnTo>
                <a:cubicBezTo>
                  <a:pt x="4482" y="4004"/>
                  <a:pt x="4173" y="4379"/>
                  <a:pt x="3717" y="4379"/>
                </a:cubicBezTo>
                <a:cubicBezTo>
                  <a:pt x="3168" y="4379"/>
                  <a:pt x="2889" y="3916"/>
                  <a:pt x="2889" y="3501"/>
                </a:cubicBezTo>
                <a:cubicBezTo>
                  <a:pt x="2889" y="2919"/>
                  <a:pt x="3287" y="2672"/>
                  <a:pt x="3455" y="2584"/>
                </a:cubicBezTo>
                <a:cubicBezTo>
                  <a:pt x="3422" y="2559"/>
                  <a:pt x="3397" y="2529"/>
                  <a:pt x="3375" y="2488"/>
                </a:cubicBezTo>
                <a:cubicBezTo>
                  <a:pt x="3182" y="2623"/>
                  <a:pt x="3008" y="2744"/>
                  <a:pt x="2640" y="2951"/>
                </a:cubicBezTo>
                <a:cubicBezTo>
                  <a:pt x="2624" y="3206"/>
                  <a:pt x="2601" y="3485"/>
                  <a:pt x="2536" y="3678"/>
                </a:cubicBezTo>
                <a:cubicBezTo>
                  <a:pt x="2400" y="4084"/>
                  <a:pt x="2121" y="4379"/>
                  <a:pt x="1754" y="4379"/>
                </a:cubicBezTo>
                <a:cubicBezTo>
                  <a:pt x="1444" y="4379"/>
                  <a:pt x="1293" y="4155"/>
                  <a:pt x="1293" y="3916"/>
                </a:cubicBezTo>
                <a:cubicBezTo>
                  <a:pt x="1293" y="3741"/>
                  <a:pt x="1395" y="3518"/>
                  <a:pt x="1580" y="3349"/>
                </a:cubicBezTo>
                <a:cubicBezTo>
                  <a:pt x="1812" y="3142"/>
                  <a:pt x="2066" y="3015"/>
                  <a:pt x="2417" y="2830"/>
                </a:cubicBezTo>
                <a:cubicBezTo>
                  <a:pt x="2425" y="2783"/>
                  <a:pt x="2433" y="2736"/>
                  <a:pt x="2442" y="2678"/>
                </a:cubicBezTo>
                <a:cubicBezTo>
                  <a:pt x="2353" y="2758"/>
                  <a:pt x="2226" y="2791"/>
                  <a:pt x="2121" y="2791"/>
                </a:cubicBezTo>
                <a:cubicBezTo>
                  <a:pt x="1955" y="2791"/>
                  <a:pt x="1818" y="2648"/>
                  <a:pt x="1787" y="2496"/>
                </a:cubicBezTo>
                <a:cubicBezTo>
                  <a:pt x="1563" y="2480"/>
                  <a:pt x="1395" y="2320"/>
                  <a:pt x="1387" y="2065"/>
                </a:cubicBezTo>
                <a:cubicBezTo>
                  <a:pt x="1387" y="1882"/>
                  <a:pt x="1459" y="1723"/>
                  <a:pt x="1580" y="1723"/>
                </a:cubicBezTo>
                <a:cubicBezTo>
                  <a:pt x="1627" y="1723"/>
                  <a:pt x="1643" y="1762"/>
                  <a:pt x="1643" y="1794"/>
                </a:cubicBezTo>
                <a:cubicBezTo>
                  <a:pt x="1643" y="1825"/>
                  <a:pt x="1602" y="1930"/>
                  <a:pt x="1602" y="2032"/>
                </a:cubicBezTo>
                <a:cubicBezTo>
                  <a:pt x="1602" y="2137"/>
                  <a:pt x="1652" y="2272"/>
                  <a:pt x="1779" y="2272"/>
                </a:cubicBezTo>
                <a:cubicBezTo>
                  <a:pt x="1779" y="1858"/>
                  <a:pt x="2082" y="1322"/>
                  <a:pt x="2442" y="1322"/>
                </a:cubicBezTo>
                <a:cubicBezTo>
                  <a:pt x="2680" y="1322"/>
                  <a:pt x="2712" y="1499"/>
                  <a:pt x="2712" y="1579"/>
                </a:cubicBezTo>
                <a:cubicBezTo>
                  <a:pt x="2712" y="1954"/>
                  <a:pt x="2337" y="2369"/>
                  <a:pt x="2033" y="2471"/>
                </a:cubicBezTo>
                <a:cubicBezTo>
                  <a:pt x="2042" y="2504"/>
                  <a:pt x="2074" y="2592"/>
                  <a:pt x="2170" y="2592"/>
                </a:cubicBezTo>
                <a:cubicBezTo>
                  <a:pt x="2290" y="2592"/>
                  <a:pt x="2433" y="2480"/>
                  <a:pt x="2505" y="2391"/>
                </a:cubicBezTo>
                <a:cubicBezTo>
                  <a:pt x="2536" y="2225"/>
                  <a:pt x="2657" y="1985"/>
                  <a:pt x="2817" y="1985"/>
                </a:cubicBezTo>
                <a:cubicBezTo>
                  <a:pt x="2880" y="1985"/>
                  <a:pt x="2911" y="2032"/>
                  <a:pt x="2911" y="2090"/>
                </a:cubicBezTo>
                <a:cubicBezTo>
                  <a:pt x="2911" y="2209"/>
                  <a:pt x="2784" y="2361"/>
                  <a:pt x="2688" y="2463"/>
                </a:cubicBezTo>
                <a:cubicBezTo>
                  <a:pt x="2673" y="2543"/>
                  <a:pt x="2665" y="2631"/>
                  <a:pt x="2665" y="2703"/>
                </a:cubicBezTo>
                <a:cubicBezTo>
                  <a:pt x="2944" y="2535"/>
                  <a:pt x="3088" y="2449"/>
                  <a:pt x="3295" y="2297"/>
                </a:cubicBezTo>
                <a:cubicBezTo>
                  <a:pt x="3279" y="2242"/>
                  <a:pt x="3279" y="2176"/>
                  <a:pt x="3279" y="2112"/>
                </a:cubicBezTo>
                <a:cubicBezTo>
                  <a:pt x="3279" y="1739"/>
                  <a:pt x="3527" y="1322"/>
                  <a:pt x="3853" y="1322"/>
                </a:cubicBezTo>
                <a:cubicBezTo>
                  <a:pt x="4037" y="1322"/>
                  <a:pt x="4131" y="1452"/>
                  <a:pt x="4131" y="1595"/>
                </a:cubicBezTo>
                <a:cubicBezTo>
                  <a:pt x="4131" y="1866"/>
                  <a:pt x="3900" y="2104"/>
                  <a:pt x="3574" y="2352"/>
                </a:cubicBezTo>
                <a:cubicBezTo>
                  <a:pt x="3599" y="2416"/>
                  <a:pt x="3637" y="2471"/>
                  <a:pt x="3701" y="2504"/>
                </a:cubicBezTo>
                <a:cubicBezTo>
                  <a:pt x="3709" y="2488"/>
                  <a:pt x="3813" y="2471"/>
                  <a:pt x="3900" y="2471"/>
                </a:cubicBezTo>
                <a:cubicBezTo>
                  <a:pt x="3996" y="2471"/>
                  <a:pt x="4131" y="2496"/>
                  <a:pt x="4131" y="2592"/>
                </a:cubicBezTo>
                <a:cubicBezTo>
                  <a:pt x="4131" y="2703"/>
                  <a:pt x="3980" y="2728"/>
                  <a:pt x="3861" y="2728"/>
                </a:cubicBezTo>
                <a:cubicBezTo>
                  <a:pt x="3797" y="2736"/>
                  <a:pt x="3693" y="2711"/>
                  <a:pt x="3693" y="2711"/>
                </a:cubicBezTo>
                <a:cubicBezTo>
                  <a:pt x="3518" y="2758"/>
                  <a:pt x="3182" y="2959"/>
                  <a:pt x="3182" y="3468"/>
                </a:cubicBezTo>
                <a:cubicBezTo>
                  <a:pt x="3182" y="3813"/>
                  <a:pt x="3397" y="4131"/>
                  <a:pt x="3734" y="4131"/>
                </a:cubicBezTo>
                <a:cubicBezTo>
                  <a:pt x="3988" y="4131"/>
                  <a:pt x="4195" y="3940"/>
                  <a:pt x="4203" y="3645"/>
                </a:cubicBezTo>
                <a:cubicBezTo>
                  <a:pt x="4204" y="3454"/>
                  <a:pt x="4123" y="3253"/>
                  <a:pt x="3933" y="3253"/>
                </a:cubicBezTo>
                <a:cubicBezTo>
                  <a:pt x="3836" y="3253"/>
                  <a:pt x="3750" y="3325"/>
                  <a:pt x="3750" y="3429"/>
                </a:cubicBezTo>
                <a:cubicBezTo>
                  <a:pt x="3742" y="3589"/>
                  <a:pt x="3861" y="3606"/>
                  <a:pt x="3861" y="3708"/>
                </a:cubicBezTo>
                <a:cubicBezTo>
                  <a:pt x="3861" y="3780"/>
                  <a:pt x="3806" y="3813"/>
                  <a:pt x="3750" y="3813"/>
                </a:cubicBezTo>
                <a:cubicBezTo>
                  <a:pt x="3590" y="3813"/>
                  <a:pt x="3469" y="3653"/>
                  <a:pt x="3469" y="3454"/>
                </a:cubicBezTo>
                <a:cubicBezTo>
                  <a:pt x="3469" y="3214"/>
                  <a:pt x="3678" y="3015"/>
                  <a:pt x="3949" y="3015"/>
                </a:cubicBezTo>
                <a:cubicBezTo>
                  <a:pt x="4300" y="3015"/>
                  <a:pt x="4482" y="3319"/>
                  <a:pt x="4482" y="3645"/>
                </a:cubicBezTo>
                <a:lnTo>
                  <a:pt x="4482" y="3645"/>
                </a:lnTo>
                <a:close/>
                <a:moveTo>
                  <a:pt x="5449" y="2880"/>
                </a:moveTo>
                <a:lnTo>
                  <a:pt x="5449" y="2880"/>
                </a:lnTo>
                <a:cubicBezTo>
                  <a:pt x="5449" y="1969"/>
                  <a:pt x="4985" y="1027"/>
                  <a:pt x="3988" y="726"/>
                </a:cubicBezTo>
                <a:cubicBezTo>
                  <a:pt x="3781" y="662"/>
                  <a:pt x="3607" y="621"/>
                  <a:pt x="3406" y="621"/>
                </a:cubicBezTo>
                <a:cubicBezTo>
                  <a:pt x="2944" y="621"/>
                  <a:pt x="2928" y="884"/>
                  <a:pt x="2712" y="884"/>
                </a:cubicBezTo>
                <a:cubicBezTo>
                  <a:pt x="2593" y="884"/>
                  <a:pt x="2513" y="798"/>
                  <a:pt x="2513" y="693"/>
                </a:cubicBezTo>
                <a:cubicBezTo>
                  <a:pt x="2513" y="510"/>
                  <a:pt x="2729" y="367"/>
                  <a:pt x="3071" y="367"/>
                </a:cubicBezTo>
                <a:cubicBezTo>
                  <a:pt x="3391" y="367"/>
                  <a:pt x="3637" y="447"/>
                  <a:pt x="3685" y="469"/>
                </a:cubicBezTo>
                <a:lnTo>
                  <a:pt x="3693" y="447"/>
                </a:lnTo>
                <a:cubicBezTo>
                  <a:pt x="3607" y="414"/>
                  <a:pt x="3303" y="309"/>
                  <a:pt x="2880" y="309"/>
                </a:cubicBezTo>
                <a:cubicBezTo>
                  <a:pt x="1961" y="309"/>
                  <a:pt x="1028" y="781"/>
                  <a:pt x="727" y="1770"/>
                </a:cubicBezTo>
                <a:cubicBezTo>
                  <a:pt x="663" y="1977"/>
                  <a:pt x="622" y="2154"/>
                  <a:pt x="622" y="2352"/>
                </a:cubicBezTo>
                <a:cubicBezTo>
                  <a:pt x="622" y="2816"/>
                  <a:pt x="885" y="2838"/>
                  <a:pt x="885" y="3054"/>
                </a:cubicBezTo>
                <a:cubicBezTo>
                  <a:pt x="885" y="3167"/>
                  <a:pt x="798" y="3247"/>
                  <a:pt x="694" y="3247"/>
                </a:cubicBezTo>
                <a:cubicBezTo>
                  <a:pt x="511" y="3247"/>
                  <a:pt x="368" y="3037"/>
                  <a:pt x="368" y="2687"/>
                </a:cubicBezTo>
                <a:cubicBezTo>
                  <a:pt x="368" y="2369"/>
                  <a:pt x="448" y="2121"/>
                  <a:pt x="462" y="2073"/>
                </a:cubicBezTo>
                <a:lnTo>
                  <a:pt x="440" y="2065"/>
                </a:lnTo>
                <a:cubicBezTo>
                  <a:pt x="415" y="2161"/>
                  <a:pt x="310" y="2457"/>
                  <a:pt x="310" y="2880"/>
                </a:cubicBezTo>
                <a:cubicBezTo>
                  <a:pt x="310" y="3805"/>
                  <a:pt x="782" y="4738"/>
                  <a:pt x="1771" y="5041"/>
                </a:cubicBezTo>
                <a:cubicBezTo>
                  <a:pt x="1978" y="5105"/>
                  <a:pt x="2154" y="5144"/>
                  <a:pt x="2353" y="5144"/>
                </a:cubicBezTo>
                <a:cubicBezTo>
                  <a:pt x="2817" y="5144"/>
                  <a:pt x="2831" y="4873"/>
                  <a:pt x="3047" y="4873"/>
                </a:cubicBezTo>
                <a:cubicBezTo>
                  <a:pt x="3160" y="4873"/>
                  <a:pt x="3248" y="4961"/>
                  <a:pt x="3248" y="5072"/>
                </a:cubicBezTo>
                <a:cubicBezTo>
                  <a:pt x="3248" y="5249"/>
                  <a:pt x="3038" y="5392"/>
                  <a:pt x="2688" y="5392"/>
                </a:cubicBezTo>
                <a:cubicBezTo>
                  <a:pt x="2370" y="5392"/>
                  <a:pt x="2113" y="5312"/>
                  <a:pt x="2074" y="5296"/>
                </a:cubicBezTo>
                <a:lnTo>
                  <a:pt x="2066" y="5320"/>
                </a:lnTo>
                <a:cubicBezTo>
                  <a:pt x="2154" y="5359"/>
                  <a:pt x="2458" y="5448"/>
                  <a:pt x="2880" y="5448"/>
                </a:cubicBezTo>
                <a:cubicBezTo>
                  <a:pt x="3797" y="5448"/>
                  <a:pt x="4739" y="4984"/>
                  <a:pt x="5034" y="3987"/>
                </a:cubicBezTo>
                <a:cubicBezTo>
                  <a:pt x="5098" y="3788"/>
                  <a:pt x="5137" y="3606"/>
                  <a:pt x="5137" y="3413"/>
                </a:cubicBezTo>
                <a:cubicBezTo>
                  <a:pt x="5137" y="2943"/>
                  <a:pt x="4874" y="2927"/>
                  <a:pt x="4874" y="2711"/>
                </a:cubicBezTo>
                <a:cubicBezTo>
                  <a:pt x="4874" y="2592"/>
                  <a:pt x="4954" y="2512"/>
                  <a:pt x="5065" y="2512"/>
                </a:cubicBezTo>
                <a:cubicBezTo>
                  <a:pt x="5250" y="2512"/>
                  <a:pt x="5393" y="2728"/>
                  <a:pt x="5393" y="3079"/>
                </a:cubicBezTo>
                <a:cubicBezTo>
                  <a:pt x="5393" y="3390"/>
                  <a:pt x="5313" y="3637"/>
                  <a:pt x="5297" y="3692"/>
                </a:cubicBezTo>
                <a:lnTo>
                  <a:pt x="5322" y="3700"/>
                </a:lnTo>
                <a:cubicBezTo>
                  <a:pt x="5352" y="3606"/>
                  <a:pt x="5449" y="3310"/>
                  <a:pt x="5449" y="2880"/>
                </a:cubicBezTo>
                <a:lnTo>
                  <a:pt x="5449" y="2880"/>
                </a:lnTo>
                <a:close/>
                <a:moveTo>
                  <a:pt x="5623" y="2880"/>
                </a:moveTo>
                <a:lnTo>
                  <a:pt x="5623" y="2880"/>
                </a:lnTo>
                <a:cubicBezTo>
                  <a:pt x="5623" y="4395"/>
                  <a:pt x="4396" y="5622"/>
                  <a:pt x="2880" y="5622"/>
                </a:cubicBezTo>
                <a:cubicBezTo>
                  <a:pt x="1364" y="5622"/>
                  <a:pt x="136" y="4395"/>
                  <a:pt x="136" y="2880"/>
                </a:cubicBezTo>
                <a:cubicBezTo>
                  <a:pt x="136" y="1363"/>
                  <a:pt x="1364" y="135"/>
                  <a:pt x="2880" y="135"/>
                </a:cubicBezTo>
                <a:cubicBezTo>
                  <a:pt x="4396" y="135"/>
                  <a:pt x="5623" y="1372"/>
                  <a:pt x="5623" y="2880"/>
                </a:cubicBezTo>
                <a:lnTo>
                  <a:pt x="5623" y="2880"/>
                </a:lnTo>
                <a:close/>
                <a:moveTo>
                  <a:pt x="5760" y="2880"/>
                </a:moveTo>
                <a:lnTo>
                  <a:pt x="5760" y="2880"/>
                </a:lnTo>
                <a:cubicBezTo>
                  <a:pt x="5760" y="1292"/>
                  <a:pt x="4468" y="0"/>
                  <a:pt x="2880" y="0"/>
                </a:cubicBezTo>
                <a:cubicBezTo>
                  <a:pt x="1293" y="0"/>
                  <a:pt x="0" y="1292"/>
                  <a:pt x="0" y="2880"/>
                </a:cubicBezTo>
                <a:cubicBezTo>
                  <a:pt x="0" y="4473"/>
                  <a:pt x="1293" y="5760"/>
                  <a:pt x="2880" y="5760"/>
                </a:cubicBezTo>
                <a:cubicBezTo>
                  <a:pt x="4468" y="5760"/>
                  <a:pt x="5760" y="4473"/>
                  <a:pt x="5760" y="2880"/>
                </a:cubicBezTo>
                <a:close/>
              </a:path>
            </a:pathLst>
          </a:custGeom>
          <a:solidFill>
            <a:srgbClr val="005EB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431704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69"/>
            <a:ext cx="11793979" cy="4643751"/>
          </a:xfrm>
        </p:spPr>
        <p:txBody>
          <a:bodyPr/>
          <a:lstStyle>
            <a:lvl1pPr>
              <a:buClr>
                <a:schemeClr val="accent2"/>
              </a:buClr>
              <a:defRPr b="0"/>
            </a:lvl1pPr>
            <a:lvl2pPr marL="680793" indent="-262052">
              <a:buFont typeface="Arial" panose="020B0604020202020204" pitchFamily="34" charset="0"/>
              <a:buChar char="̶"/>
              <a:defRPr/>
            </a:lvl2pPr>
            <a:lvl3pPr marL="972562" indent="-237737">
              <a:defRPr/>
            </a:lvl3pPr>
            <a:lvl4pPr marL="1264331" indent="-237737">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38403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3403"/>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69"/>
            <a:ext cx="11793979" cy="4643751"/>
          </a:xfrm>
        </p:spPr>
        <p:txBody>
          <a:bodyPr/>
          <a:lstStyle>
            <a:lvl1pPr>
              <a:buClr>
                <a:schemeClr val="accent2"/>
              </a:buClr>
              <a:defRPr b="0"/>
            </a:lvl1pPr>
            <a:lvl2pPr marL="680793" indent="-262052">
              <a:buFont typeface="Arial" panose="020B0604020202020204" pitchFamily="34" charset="0"/>
              <a:buChar char="̶"/>
              <a:defRPr/>
            </a:lvl2pPr>
            <a:lvl3pPr marL="972562" indent="-237737">
              <a:defRPr/>
            </a:lvl3pPr>
            <a:lvl4pPr marL="1264331" indent="-237737">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31335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2" y="1494769"/>
            <a:ext cx="5573288" cy="4643751"/>
          </a:xfrm>
        </p:spPr>
        <p:txBody>
          <a:bodyPr/>
          <a:lstStyle>
            <a:lvl1pPr>
              <a:buClr>
                <a:schemeClr val="accent2"/>
              </a:buClr>
              <a:defRPr sz="1800" b="0"/>
            </a:lvl1pPr>
            <a:lvl2pPr marL="680793" indent="-262052">
              <a:buFont typeface="Arial" panose="020B0604020202020204" pitchFamily="34" charset="0"/>
              <a:buChar char="̶"/>
              <a:defRPr sz="1600"/>
            </a:lvl2pPr>
            <a:lvl3pPr marL="972562" indent="-237737">
              <a:defRPr sz="1400"/>
            </a:lvl3pPr>
            <a:lvl4pPr marL="1264331" indent="-237737">
              <a:buFont typeface="Courier New" panose="02070309020205020404" pitchFamily="49" charset="0"/>
              <a:buChar char="o"/>
              <a:defRPr sz="18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p:txBody>
      </p:sp>
      <p:sp>
        <p:nvSpPr>
          <p:cNvPr id="6" name="Text Placeholder 5">
            <a:extLst>
              <a:ext uri="{FF2B5EF4-FFF2-40B4-BE49-F238E27FC236}">
                <a16:creationId xmlns:a16="http://schemas.microsoft.com/office/drawing/2014/main" id="{CA6792A8-BC96-41EE-BA9A-D2A050377FAB}"/>
              </a:ext>
            </a:extLst>
          </p:cNvPr>
          <p:cNvSpPr>
            <a:spLocks noGrp="1"/>
          </p:cNvSpPr>
          <p:nvPr>
            <p:ph type="body" sz="quarter" idx="10"/>
          </p:nvPr>
        </p:nvSpPr>
        <p:spPr>
          <a:xfrm>
            <a:off x="6303963" y="1495425"/>
            <a:ext cx="5568950" cy="4643095"/>
          </a:xfrm>
        </p:spPr>
        <p:txBody>
          <a:bodyPr/>
          <a:lstStyle>
            <a:lvl1pPr>
              <a:defRPr sz="1800"/>
            </a:lvl1pPr>
            <a:lvl2pPr>
              <a:defRPr sz="1600"/>
            </a:lvl2pPr>
            <a:lvl3pPr>
              <a:defRPr sz="1400"/>
            </a:lvl3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407656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_V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100307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ntent &amp; Leadline">
    <p:spTree>
      <p:nvGrpSpPr>
        <p:cNvPr id="1" name=""/>
        <p:cNvGrpSpPr/>
        <p:nvPr/>
      </p:nvGrpSpPr>
      <p:grpSpPr>
        <a:xfrm>
          <a:off x="0" y="0"/>
          <a:ext cx="0" cy="0"/>
          <a:chOff x="0" y="0"/>
          <a:chExt cx="0" cy="0"/>
        </a:xfrm>
      </p:grpSpPr>
      <p:sp>
        <p:nvSpPr>
          <p:cNvPr id="12" name="Freeform 11"/>
          <p:cNvSpPr/>
          <p:nvPr userDrawn="1"/>
        </p:nvSpPr>
        <p:spPr>
          <a:xfrm flipH="1">
            <a:off x="9343145" y="-8075"/>
            <a:ext cx="2856932" cy="1787822"/>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7392" h="1474528">
                <a:moveTo>
                  <a:pt x="4549" y="0"/>
                </a:moveTo>
                <a:lnTo>
                  <a:pt x="4226257" y="0"/>
                </a:lnTo>
                <a:cubicBezTo>
                  <a:pt x="4309660" y="189553"/>
                  <a:pt x="4370317" y="224429"/>
                  <a:pt x="4367284" y="746078"/>
                </a:cubicBezTo>
                <a:cubicBezTo>
                  <a:pt x="3311857" y="962927"/>
                  <a:pt x="1501253" y="1857612"/>
                  <a:pt x="0" y="1287439"/>
                </a:cubicBezTo>
                <a:cubicBezTo>
                  <a:pt x="1516" y="858293"/>
                  <a:pt x="3033" y="429146"/>
                  <a:pt x="4549"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84" dirty="0">
              <a:solidFill>
                <a:schemeClr val="tx2">
                  <a:lumMod val="50000"/>
                </a:schemeClr>
              </a:solidFill>
            </a:endParaRPr>
          </a:p>
        </p:txBody>
      </p:sp>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a:xfrm>
            <a:off x="6" y="1"/>
            <a:ext cx="9197588" cy="1062180"/>
          </a:xfrm>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955801"/>
            <a:ext cx="11793979" cy="4026560"/>
          </a:xfrm>
        </p:spPr>
        <p:txBody>
          <a:bodyPr/>
          <a:lstStyle>
            <a:lvl1pPr>
              <a:buClr>
                <a:schemeClr val="accent2"/>
              </a:buClr>
              <a:defRPr b="0"/>
            </a:lvl1pPr>
            <a:lvl2pPr marL="680793" indent="-262052">
              <a:buFont typeface="Arial" panose="020B0604020202020204" pitchFamily="34" charset="0"/>
              <a:buChar char="̶"/>
              <a:defRPr/>
            </a:lvl2pPr>
            <a:lvl3pPr marL="972562" indent="-237737">
              <a:defRPr/>
            </a:lvl3pPr>
            <a:lvl4pPr marL="1264331" indent="-237737">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2" y="1495451"/>
            <a:ext cx="9857879" cy="460353"/>
          </a:xfrm>
        </p:spPr>
        <p:txBody>
          <a:bodyPr/>
          <a:lstStyle>
            <a:lvl1pPr marL="0" indent="0">
              <a:buNone/>
              <a:defRPr sz="3063"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Content &amp; Leadline">
    <p:spTree>
      <p:nvGrpSpPr>
        <p:cNvPr id="1" name=""/>
        <p:cNvGrpSpPr/>
        <p:nvPr/>
      </p:nvGrpSpPr>
      <p:grpSpPr>
        <a:xfrm>
          <a:off x="0" y="0"/>
          <a:ext cx="0" cy="0"/>
          <a:chOff x="0" y="0"/>
          <a:chExt cx="0" cy="0"/>
        </a:xfrm>
      </p:grpSpPr>
      <p:sp>
        <p:nvSpPr>
          <p:cNvPr id="7" name="Freeform 6"/>
          <p:cNvSpPr/>
          <p:nvPr userDrawn="1"/>
        </p:nvSpPr>
        <p:spPr>
          <a:xfrm>
            <a:off x="-1022" y="-12073"/>
            <a:ext cx="12223287" cy="1578395"/>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84" dirty="0">
              <a:solidFill>
                <a:schemeClr val="tx2">
                  <a:lumMod val="50000"/>
                </a:schemeClr>
              </a:solidFill>
            </a:endParaRPr>
          </a:p>
        </p:txBody>
      </p:sp>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3403">
                <a:solidFill>
                  <a:schemeClr val="bg1"/>
                </a:solidFill>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955801"/>
            <a:ext cx="11793979" cy="4026560"/>
          </a:xfrm>
        </p:spPr>
        <p:txBody>
          <a:bodyPr/>
          <a:lstStyle>
            <a:lvl1pPr>
              <a:buClr>
                <a:schemeClr val="accent2"/>
              </a:buClr>
              <a:defRPr b="0"/>
            </a:lvl1pPr>
            <a:lvl2pPr marL="680793" indent="-262052">
              <a:buFont typeface="Arial" panose="020B0604020202020204" pitchFamily="34" charset="0"/>
              <a:buChar char="̶"/>
              <a:defRPr/>
            </a:lvl2pPr>
            <a:lvl3pPr marL="972562" indent="-237737">
              <a:defRPr/>
            </a:lvl3pPr>
            <a:lvl4pPr marL="1264331" indent="-237737">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0" y="1495451"/>
            <a:ext cx="11813715" cy="460353"/>
          </a:xfrm>
        </p:spPr>
        <p:txBody>
          <a:bodyPr/>
          <a:lstStyle>
            <a:lvl1pPr marL="0" indent="0">
              <a:buNone/>
              <a:defRPr sz="3063"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4471700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ntent Master">
    <p:bg>
      <p:bgPr>
        <a:solidFill>
          <a:schemeClr val="bg1"/>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16121" y="1"/>
            <a:ext cx="5818953" cy="6858000"/>
            <a:chOff x="-12091" y="-1"/>
            <a:chExt cx="4907046" cy="5783260"/>
          </a:xfrm>
        </p:grpSpPr>
        <p:sp>
          <p:nvSpPr>
            <p:cNvPr id="5" name="Rectangle 4">
              <a:extLst>
                <a:ext uri="{FF2B5EF4-FFF2-40B4-BE49-F238E27FC236}">
                  <a16:creationId xmlns:a16="http://schemas.microsoft.com/office/drawing/2014/main" id="{9455EBB8-DB3C-45D2-B02F-0B36A58E555B}"/>
                </a:ext>
              </a:extLst>
            </p:cNvPr>
            <p:cNvSpPr/>
            <p:nvPr userDrawn="1"/>
          </p:nvSpPr>
          <p:spPr>
            <a:xfrm>
              <a:off x="-1" y="0"/>
              <a:ext cx="3845326" cy="5783259"/>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5524"/>
            </a:p>
          </p:txBody>
        </p:sp>
        <p:sp>
          <p:nvSpPr>
            <p:cNvPr id="7" name="Freeform 13"/>
            <p:cNvSpPr>
              <a:spLocks/>
            </p:cNvSpPr>
            <p:nvPr userDrawn="1"/>
          </p:nvSpPr>
          <p:spPr bwMode="auto">
            <a:xfrm>
              <a:off x="-12091" y="-1"/>
              <a:ext cx="4907046" cy="2458586"/>
            </a:xfrm>
            <a:custGeom>
              <a:avLst/>
              <a:gdLst>
                <a:gd name="T0" fmla="*/ 1586 w 1862"/>
                <a:gd name="T1" fmla="*/ 0 h 2254"/>
                <a:gd name="T2" fmla="*/ 1698 w 1862"/>
                <a:gd name="T3" fmla="*/ 966 h 2254"/>
                <a:gd name="T4" fmla="*/ 359 w 1862"/>
                <a:gd name="T5" fmla="*/ 2142 h 2254"/>
                <a:gd name="T6" fmla="*/ 0 w 1862"/>
                <a:gd name="T7" fmla="*/ 2025 h 2254"/>
                <a:gd name="T8" fmla="*/ 0 w 1862"/>
                <a:gd name="T9" fmla="*/ 0 h 2254"/>
                <a:gd name="T10" fmla="*/ 1586 w 1862"/>
                <a:gd name="T11" fmla="*/ 0 h 2254"/>
                <a:gd name="connsiteX0" fmla="*/ 8542 w 9422"/>
                <a:gd name="connsiteY0" fmla="*/ 28 h 9647"/>
                <a:gd name="connsiteX1" fmla="*/ 9143 w 9422"/>
                <a:gd name="connsiteY1" fmla="*/ 4314 h 9647"/>
                <a:gd name="connsiteX2" fmla="*/ 1952 w 9422"/>
                <a:gd name="connsiteY2" fmla="*/ 9531 h 9647"/>
                <a:gd name="connsiteX3" fmla="*/ 0 w 9422"/>
                <a:gd name="connsiteY3" fmla="*/ 8063 h 9647"/>
                <a:gd name="connsiteX4" fmla="*/ 24 w 9422"/>
                <a:gd name="connsiteY4" fmla="*/ 28 h 9647"/>
                <a:gd name="connsiteX5" fmla="*/ 8542 w 9422"/>
                <a:gd name="connsiteY5" fmla="*/ 28 h 9647"/>
                <a:gd name="connsiteX0" fmla="*/ 9066 w 10000"/>
                <a:gd name="connsiteY0" fmla="*/ 0 h 9971"/>
                <a:gd name="connsiteX1" fmla="*/ 9704 w 10000"/>
                <a:gd name="connsiteY1" fmla="*/ 4443 h 9971"/>
                <a:gd name="connsiteX2" fmla="*/ 2072 w 10000"/>
                <a:gd name="connsiteY2" fmla="*/ 9851 h 9971"/>
                <a:gd name="connsiteX3" fmla="*/ 0 w 10000"/>
                <a:gd name="connsiteY3" fmla="*/ 8329 h 9971"/>
                <a:gd name="connsiteX4" fmla="*/ 25 w 10000"/>
                <a:gd name="connsiteY4" fmla="*/ 0 h 9971"/>
                <a:gd name="connsiteX5" fmla="*/ 9066 w 10000"/>
                <a:gd name="connsiteY5" fmla="*/ 0 h 9971"/>
                <a:gd name="connsiteX0" fmla="*/ 9066 w 10000"/>
                <a:gd name="connsiteY0" fmla="*/ 0 h 9813"/>
                <a:gd name="connsiteX1" fmla="*/ 9704 w 10000"/>
                <a:gd name="connsiteY1" fmla="*/ 4456 h 9813"/>
                <a:gd name="connsiteX2" fmla="*/ 3628 w 10000"/>
                <a:gd name="connsiteY2" fmla="*/ 9813 h 9813"/>
                <a:gd name="connsiteX3" fmla="*/ 0 w 10000"/>
                <a:gd name="connsiteY3" fmla="*/ 8353 h 9813"/>
                <a:gd name="connsiteX4" fmla="*/ 25 w 10000"/>
                <a:gd name="connsiteY4" fmla="*/ 0 h 9813"/>
                <a:gd name="connsiteX5" fmla="*/ 9066 w 10000"/>
                <a:gd name="connsiteY5" fmla="*/ 0 h 9813"/>
                <a:gd name="connsiteX0" fmla="*/ 9066 w 10067"/>
                <a:gd name="connsiteY0" fmla="*/ 0 h 10060"/>
                <a:gd name="connsiteX1" fmla="*/ 9781 w 10067"/>
                <a:gd name="connsiteY1" fmla="*/ 6349 h 10060"/>
                <a:gd name="connsiteX2" fmla="*/ 3628 w 10067"/>
                <a:gd name="connsiteY2" fmla="*/ 10000 h 10060"/>
                <a:gd name="connsiteX3" fmla="*/ 0 w 10067"/>
                <a:gd name="connsiteY3" fmla="*/ 8512 h 10060"/>
                <a:gd name="connsiteX4" fmla="*/ 25 w 10067"/>
                <a:gd name="connsiteY4" fmla="*/ 0 h 10060"/>
                <a:gd name="connsiteX5" fmla="*/ 9066 w 10067"/>
                <a:gd name="connsiteY5" fmla="*/ 0 h 10060"/>
                <a:gd name="connsiteX0" fmla="*/ 9092 w 10071"/>
                <a:gd name="connsiteY0" fmla="*/ 0 h 10060"/>
                <a:gd name="connsiteX1" fmla="*/ 9781 w 10071"/>
                <a:gd name="connsiteY1" fmla="*/ 6349 h 10060"/>
                <a:gd name="connsiteX2" fmla="*/ 3628 w 10071"/>
                <a:gd name="connsiteY2" fmla="*/ 10000 h 10060"/>
                <a:gd name="connsiteX3" fmla="*/ 0 w 10071"/>
                <a:gd name="connsiteY3" fmla="*/ 8512 h 10060"/>
                <a:gd name="connsiteX4" fmla="*/ 25 w 10071"/>
                <a:gd name="connsiteY4" fmla="*/ 0 h 10060"/>
                <a:gd name="connsiteX5" fmla="*/ 9092 w 10071"/>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54"/>
                <a:gd name="connsiteX1" fmla="*/ 9781 w 10337"/>
                <a:gd name="connsiteY1" fmla="*/ 6349 h 10054"/>
                <a:gd name="connsiteX2" fmla="*/ 3628 w 10337"/>
                <a:gd name="connsiteY2" fmla="*/ 10000 h 10054"/>
                <a:gd name="connsiteX3" fmla="*/ 0 w 10337"/>
                <a:gd name="connsiteY3" fmla="*/ 8512 h 10054"/>
                <a:gd name="connsiteX4" fmla="*/ 25 w 10337"/>
                <a:gd name="connsiteY4" fmla="*/ 0 h 10054"/>
                <a:gd name="connsiteX5" fmla="*/ 9092 w 10337"/>
                <a:gd name="connsiteY5" fmla="*/ 0 h 10054"/>
                <a:gd name="connsiteX0" fmla="*/ 9092 w 10337"/>
                <a:gd name="connsiteY0" fmla="*/ 0 h 10104"/>
                <a:gd name="connsiteX1" fmla="*/ 9781 w 10337"/>
                <a:gd name="connsiteY1" fmla="*/ 6349 h 10104"/>
                <a:gd name="connsiteX2" fmla="*/ 3628 w 10337"/>
                <a:gd name="connsiteY2" fmla="*/ 10000 h 10104"/>
                <a:gd name="connsiteX3" fmla="*/ 0 w 10337"/>
                <a:gd name="connsiteY3" fmla="*/ 8512 h 10104"/>
                <a:gd name="connsiteX4" fmla="*/ 25 w 10337"/>
                <a:gd name="connsiteY4" fmla="*/ 0 h 10104"/>
                <a:gd name="connsiteX5" fmla="*/ 9092 w 10337"/>
                <a:gd name="connsiteY5" fmla="*/ 0 h 10104"/>
                <a:gd name="connsiteX0" fmla="*/ 9092 w 10337"/>
                <a:gd name="connsiteY0" fmla="*/ 0 h 10268"/>
                <a:gd name="connsiteX1" fmla="*/ 9781 w 10337"/>
                <a:gd name="connsiteY1" fmla="*/ 6349 h 10268"/>
                <a:gd name="connsiteX2" fmla="*/ 3475 w 10337"/>
                <a:gd name="connsiteY2" fmla="*/ 10181 h 10268"/>
                <a:gd name="connsiteX3" fmla="*/ 0 w 10337"/>
                <a:gd name="connsiteY3" fmla="*/ 8512 h 10268"/>
                <a:gd name="connsiteX4" fmla="*/ 25 w 10337"/>
                <a:gd name="connsiteY4" fmla="*/ 0 h 10268"/>
                <a:gd name="connsiteX5" fmla="*/ 9092 w 10337"/>
                <a:gd name="connsiteY5" fmla="*/ 0 h 10268"/>
                <a:gd name="connsiteX0" fmla="*/ 9092 w 10337"/>
                <a:gd name="connsiteY0" fmla="*/ 0 h 10260"/>
                <a:gd name="connsiteX1" fmla="*/ 9781 w 10337"/>
                <a:gd name="connsiteY1" fmla="*/ 6349 h 10260"/>
                <a:gd name="connsiteX2" fmla="*/ 3475 w 10337"/>
                <a:gd name="connsiteY2" fmla="*/ 10181 h 10260"/>
                <a:gd name="connsiteX3" fmla="*/ 0 w 10337"/>
                <a:gd name="connsiteY3" fmla="*/ 8512 h 10260"/>
                <a:gd name="connsiteX4" fmla="*/ 25 w 10337"/>
                <a:gd name="connsiteY4" fmla="*/ 0 h 10260"/>
                <a:gd name="connsiteX5" fmla="*/ 9092 w 10337"/>
                <a:gd name="connsiteY5" fmla="*/ 0 h 10260"/>
                <a:gd name="connsiteX0" fmla="*/ 9092 w 10337"/>
                <a:gd name="connsiteY0" fmla="*/ 0 h 10247"/>
                <a:gd name="connsiteX1" fmla="*/ 9781 w 10337"/>
                <a:gd name="connsiteY1" fmla="*/ 6349 h 10247"/>
                <a:gd name="connsiteX2" fmla="*/ 3475 w 10337"/>
                <a:gd name="connsiteY2" fmla="*/ 10181 h 10247"/>
                <a:gd name="connsiteX3" fmla="*/ 0 w 10337"/>
                <a:gd name="connsiteY3" fmla="*/ 8512 h 10247"/>
                <a:gd name="connsiteX4" fmla="*/ 25 w 10337"/>
                <a:gd name="connsiteY4" fmla="*/ 0 h 10247"/>
                <a:gd name="connsiteX5" fmla="*/ 9092 w 10337"/>
                <a:gd name="connsiteY5" fmla="*/ 0 h 10247"/>
                <a:gd name="connsiteX0" fmla="*/ 9092 w 10337"/>
                <a:gd name="connsiteY0" fmla="*/ 0 h 10284"/>
                <a:gd name="connsiteX1" fmla="*/ 9781 w 10337"/>
                <a:gd name="connsiteY1" fmla="*/ 6349 h 10284"/>
                <a:gd name="connsiteX2" fmla="*/ 3475 w 10337"/>
                <a:gd name="connsiteY2" fmla="*/ 10181 h 10284"/>
                <a:gd name="connsiteX3" fmla="*/ 0 w 10337"/>
                <a:gd name="connsiteY3" fmla="*/ 8512 h 10284"/>
                <a:gd name="connsiteX4" fmla="*/ 25 w 10337"/>
                <a:gd name="connsiteY4" fmla="*/ 0 h 10284"/>
                <a:gd name="connsiteX5" fmla="*/ 9092 w 10337"/>
                <a:gd name="connsiteY5" fmla="*/ 0 h 10284"/>
                <a:gd name="connsiteX0" fmla="*/ 9092 w 10337"/>
                <a:gd name="connsiteY0" fmla="*/ 0 h 10323"/>
                <a:gd name="connsiteX1" fmla="*/ 9781 w 10337"/>
                <a:gd name="connsiteY1" fmla="*/ 6349 h 10323"/>
                <a:gd name="connsiteX2" fmla="*/ 3475 w 10337"/>
                <a:gd name="connsiteY2" fmla="*/ 10181 h 10323"/>
                <a:gd name="connsiteX3" fmla="*/ 0 w 10337"/>
                <a:gd name="connsiteY3" fmla="*/ 8512 h 10323"/>
                <a:gd name="connsiteX4" fmla="*/ 25 w 10337"/>
                <a:gd name="connsiteY4" fmla="*/ 0 h 10323"/>
                <a:gd name="connsiteX5" fmla="*/ 9092 w 10337"/>
                <a:gd name="connsiteY5" fmla="*/ 0 h 10323"/>
                <a:gd name="connsiteX0" fmla="*/ 9092 w 10337"/>
                <a:gd name="connsiteY0" fmla="*/ 0 h 10351"/>
                <a:gd name="connsiteX1" fmla="*/ 9781 w 10337"/>
                <a:gd name="connsiteY1" fmla="*/ 6349 h 10351"/>
                <a:gd name="connsiteX2" fmla="*/ 3475 w 10337"/>
                <a:gd name="connsiteY2" fmla="*/ 10181 h 10351"/>
                <a:gd name="connsiteX3" fmla="*/ 0 w 10337"/>
                <a:gd name="connsiteY3" fmla="*/ 8512 h 10351"/>
                <a:gd name="connsiteX4" fmla="*/ 25 w 10337"/>
                <a:gd name="connsiteY4" fmla="*/ 0 h 10351"/>
                <a:gd name="connsiteX5" fmla="*/ 9092 w 10337"/>
                <a:gd name="connsiteY5" fmla="*/ 0 h 10351"/>
                <a:gd name="connsiteX0" fmla="*/ 9092 w 10337"/>
                <a:gd name="connsiteY0" fmla="*/ 0 h 10305"/>
                <a:gd name="connsiteX1" fmla="*/ 9781 w 10337"/>
                <a:gd name="connsiteY1" fmla="*/ 6349 h 10305"/>
                <a:gd name="connsiteX2" fmla="*/ 3475 w 10337"/>
                <a:gd name="connsiteY2" fmla="*/ 10181 h 10305"/>
                <a:gd name="connsiteX3" fmla="*/ 0 w 10337"/>
                <a:gd name="connsiteY3" fmla="*/ 8512 h 10305"/>
                <a:gd name="connsiteX4" fmla="*/ 25 w 10337"/>
                <a:gd name="connsiteY4" fmla="*/ 0 h 10305"/>
                <a:gd name="connsiteX5" fmla="*/ 9092 w 10337"/>
                <a:gd name="connsiteY5" fmla="*/ 0 h 10305"/>
                <a:gd name="connsiteX0" fmla="*/ 9092 w 10337"/>
                <a:gd name="connsiteY0" fmla="*/ 0 h 10300"/>
                <a:gd name="connsiteX1" fmla="*/ 9781 w 10337"/>
                <a:gd name="connsiteY1" fmla="*/ 6349 h 10300"/>
                <a:gd name="connsiteX2" fmla="*/ 3475 w 10337"/>
                <a:gd name="connsiteY2" fmla="*/ 10181 h 10300"/>
                <a:gd name="connsiteX3" fmla="*/ 0 w 10337"/>
                <a:gd name="connsiteY3" fmla="*/ 8512 h 10300"/>
                <a:gd name="connsiteX4" fmla="*/ 25 w 10337"/>
                <a:gd name="connsiteY4" fmla="*/ 0 h 10300"/>
                <a:gd name="connsiteX5" fmla="*/ 9092 w 10337"/>
                <a:gd name="connsiteY5" fmla="*/ 0 h 1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7" h="10300">
                  <a:moveTo>
                    <a:pt x="9092" y="0"/>
                  </a:moveTo>
                  <a:cubicBezTo>
                    <a:pt x="9092" y="0"/>
                    <a:pt x="11354" y="3877"/>
                    <a:pt x="9781" y="6349"/>
                  </a:cubicBezTo>
                  <a:cubicBezTo>
                    <a:pt x="8153" y="5258"/>
                    <a:pt x="5566" y="9748"/>
                    <a:pt x="3475" y="10181"/>
                  </a:cubicBezTo>
                  <a:cubicBezTo>
                    <a:pt x="1713" y="10546"/>
                    <a:pt x="967" y="10094"/>
                    <a:pt x="0" y="8512"/>
                  </a:cubicBezTo>
                  <a:cubicBezTo>
                    <a:pt x="13" y="2254"/>
                    <a:pt x="25" y="0"/>
                    <a:pt x="25" y="0"/>
                  </a:cubicBezTo>
                  <a:lnTo>
                    <a:pt x="9092"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5524" dirty="0"/>
            </a:p>
          </p:txBody>
        </p:sp>
      </p:grpSp>
      <p:sp>
        <p:nvSpPr>
          <p:cNvPr id="6"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7" y="3089438"/>
            <a:ext cx="3670827" cy="3589368"/>
          </a:xfrm>
          <a:prstGeom prst="rect">
            <a:avLst/>
          </a:prstGeom>
        </p:spPr>
        <p:txBody>
          <a:bodyPr>
            <a:noAutofit/>
          </a:bodyPr>
          <a:lstStyle>
            <a:lvl1pPr>
              <a:lnSpc>
                <a:spcPts val="2808"/>
              </a:lnSpc>
              <a:defRPr sz="2297"/>
            </a:lvl1pPr>
            <a:lvl2pPr>
              <a:lnSpc>
                <a:spcPts val="2297"/>
              </a:lnSpc>
              <a:buClr>
                <a:schemeClr val="accent3"/>
              </a:buClr>
              <a:defRPr sz="2042"/>
            </a:lvl2pPr>
            <a:lvl3pPr>
              <a:lnSpc>
                <a:spcPts val="2042"/>
              </a:lnSpc>
              <a:buClr>
                <a:schemeClr val="accent3"/>
              </a:buClr>
              <a:defRPr sz="1787"/>
            </a:lvl3pPr>
            <a:lvl4pPr>
              <a:lnSpc>
                <a:spcPts val="1787"/>
              </a:lnSpc>
              <a:buClr>
                <a:schemeClr val="accent3"/>
              </a:buClr>
              <a:defRPr sz="1532"/>
            </a:lvl4pPr>
            <a:lvl5pPr>
              <a:lnSpc>
                <a:spcPct val="100000"/>
              </a:lnSpc>
              <a:defRPr sz="1532"/>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a:xfrm>
            <a:off x="3" y="1"/>
            <a:ext cx="5318927" cy="1062180"/>
          </a:xfrm>
        </p:spPr>
        <p:txBody>
          <a:bodyPr tIns="274320" anchor="t"/>
          <a:lstStyle>
            <a:lvl1pPr>
              <a:defRPr sz="3403">
                <a:solidFill>
                  <a:schemeClr val="bg1"/>
                </a:solidFill>
              </a:defRPr>
            </a:lvl1pPr>
          </a:lstStyle>
          <a:p>
            <a:r>
              <a:rPr lang="en-US" noProof="0" dirty="0"/>
              <a:t>Click to edit Master title style</a:t>
            </a:r>
            <a:endParaRPr lang="en-US"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333051" y="251520"/>
            <a:ext cx="565808" cy="612832"/>
          </a:xfrm>
          <a:prstGeom prst="rect">
            <a:avLst/>
          </a:prstGeom>
        </p:spPr>
      </p:pic>
    </p:spTree>
    <p:extLst>
      <p:ext uri="{BB962C8B-B14F-4D97-AF65-F5344CB8AC3E}">
        <p14:creationId xmlns:p14="http://schemas.microsoft.com/office/powerpoint/2010/main" val="12208070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Vide">
    <p:bg>
      <p:bgPr>
        <a:solidFill>
          <a:srgbClr val="EDEDED"/>
        </a:solidFill>
        <a:effectLst/>
      </p:bgPr>
    </p:bg>
    <p:spTree>
      <p:nvGrpSpPr>
        <p:cNvPr id="1" name=""/>
        <p:cNvGrpSpPr/>
        <p:nvPr/>
      </p:nvGrpSpPr>
      <p:grpSpPr>
        <a:xfrm>
          <a:off x="0" y="0"/>
          <a:ext cx="0" cy="0"/>
          <a:chOff x="0" y="0"/>
          <a:chExt cx="0" cy="0"/>
        </a:xfrm>
      </p:grpSpPr>
      <p:sp>
        <p:nvSpPr>
          <p:cNvPr id="23" name="Rectangle 22"/>
          <p:cNvSpPr/>
          <p:nvPr userDrawn="1"/>
        </p:nvSpPr>
        <p:spPr>
          <a:xfrm>
            <a:off x="2" y="1"/>
            <a:ext cx="175678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84" dirty="0">
              <a:solidFill>
                <a:schemeClr val="tx2">
                  <a:lumMod val="50000"/>
                </a:schemeClr>
              </a:solidFill>
              <a:latin typeface="Segoe UI" panose="020B0502040204020203" pitchFamily="34" charset="0"/>
              <a:cs typeface="Segoe UI" panose="020B0502040204020203" pitchFamily="34" charset="0"/>
            </a:endParaRPr>
          </a:p>
        </p:txBody>
      </p:sp>
      <p:graphicFrame>
        <p:nvGraphicFramePr>
          <p:cNvPr id="2" name="Object 1"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6657881" y="2524336"/>
            <a:ext cx="4784284"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Segoe UI" panose="020B0502040204020203" pitchFamily="34" charset="0"/>
                <a:ea typeface="+mn-ea"/>
                <a:cs typeface="Segoe UI" panose="020B0502040204020203"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userDrawn="1"/>
        </p:nvSpPr>
        <p:spPr>
          <a:xfrm>
            <a:off x="6657880" y="2018367"/>
            <a:ext cx="2905099" cy="309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553"/>
              </a:lnSpc>
            </a:pPr>
            <a:r>
              <a:rPr lang="en-US" sz="2042" b="1" dirty="0">
                <a:solidFill>
                  <a:schemeClr val="tx2"/>
                </a:solidFill>
                <a:latin typeface="Segoe UI" panose="020B0502040204020203" pitchFamily="34" charset="0"/>
                <a:ea typeface="Verdana" panose="020B0604030504040204" pitchFamily="34" charset="0"/>
                <a:cs typeface="Segoe UI" panose="020B0502040204020203" pitchFamily="34" charset="0"/>
              </a:rPr>
              <a:t>About Capgemini</a:t>
            </a:r>
          </a:p>
        </p:txBody>
      </p:sp>
      <p:sp>
        <p:nvSpPr>
          <p:cNvPr id="10" name="Rectangle 9"/>
          <p:cNvSpPr/>
          <p:nvPr userDrawn="1"/>
        </p:nvSpPr>
        <p:spPr>
          <a:xfrm>
            <a:off x="6657881" y="4973900"/>
            <a:ext cx="3468944"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532"/>
              </a:lnSpc>
              <a:spcAft>
                <a:spcPts val="766"/>
              </a:spcAft>
            </a:pPr>
            <a:r>
              <a:rPr lang="en-US" sz="1532" dirty="0">
                <a:solidFill>
                  <a:schemeClr val="tx1"/>
                </a:solidFill>
                <a:latin typeface="Segoe UI" panose="020B0502040204020203" pitchFamily="34" charset="0"/>
                <a:ea typeface="Verdana" panose="020B0604030504040204" pitchFamily="34" charset="0"/>
                <a:cs typeface="Segoe UI" panose="020B0502040204020203" pitchFamily="34" charset="0"/>
              </a:rPr>
              <a:t>Learn more about us at</a:t>
            </a:r>
          </a:p>
          <a:p>
            <a:pPr algn="just">
              <a:lnSpc>
                <a:spcPts val="1532"/>
              </a:lnSpc>
            </a:pPr>
            <a:r>
              <a:rPr lang="en-US" sz="2382" dirty="0">
                <a:solidFill>
                  <a:schemeClr val="accent2"/>
                </a:solidFill>
                <a:latin typeface="Segoe UI" panose="020B0502040204020203" pitchFamily="34" charset="0"/>
                <a:ea typeface="Verdana" panose="020B0604030504040204" pitchFamily="34" charset="0"/>
                <a:cs typeface="Segoe UI" panose="020B0502040204020203" pitchFamily="34" charset="0"/>
              </a:rPr>
              <a:t>www.capgemini.com</a:t>
            </a:r>
          </a:p>
        </p:txBody>
      </p:sp>
      <p:sp>
        <p:nvSpPr>
          <p:cNvPr id="17" name="Rectangle 16"/>
          <p:cNvSpPr/>
          <p:nvPr userDrawn="1"/>
        </p:nvSpPr>
        <p:spPr>
          <a:xfrm>
            <a:off x="6657881" y="6247770"/>
            <a:ext cx="5213580" cy="369332"/>
          </a:xfrm>
          <a:prstGeom prst="rect">
            <a:avLst/>
          </a:prstGeom>
        </p:spPr>
        <p:txBody>
          <a:bodyPr wrap="square" lIns="0" tIns="0" rIns="0" bIns="0" anchor="b" anchorCtr="0">
            <a:spAutoFit/>
          </a:bodyPr>
          <a:lstStyle/>
          <a:p>
            <a:pPr>
              <a:spcAft>
                <a:spcPts val="766"/>
              </a:spcAft>
            </a:pPr>
            <a:r>
              <a:rPr lang="en-US" sz="800" dirty="0">
                <a:latin typeface="Segoe UI" panose="020B0502040204020203" pitchFamily="34" charset="0"/>
                <a:ea typeface="Verdana" panose="020B0604030504040204" pitchFamily="34" charset="0"/>
                <a:cs typeface="Segoe UI" panose="020B0502040204020203"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5"/>
          </p:cNvPr>
          <p:cNvSpPr/>
          <p:nvPr userDrawn="1"/>
        </p:nvSpPr>
        <p:spPr>
          <a:xfrm>
            <a:off x="11956320" y="5079047"/>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6708" tIns="58354" rIns="116708" bIns="58354" rtlCol="0" anchor="ctr"/>
          <a:lstStyle/>
          <a:p>
            <a:pPr algn="ctr"/>
            <a:endParaRPr lang="en-GB" sz="3063" dirty="0">
              <a:latin typeface="Segoe UI" panose="020B0502040204020203" pitchFamily="34" charset="0"/>
              <a:cs typeface="Segoe UI" panose="020B0502040204020203" pitchFamily="34" charset="0"/>
            </a:endParaRPr>
          </a:p>
        </p:txBody>
      </p:sp>
      <p:sp>
        <p:nvSpPr>
          <p:cNvPr id="4" name="Freeform 5"/>
          <p:cNvSpPr>
            <a:spLocks/>
          </p:cNvSpPr>
          <p:nvPr userDrawn="1"/>
        </p:nvSpPr>
        <p:spPr bwMode="auto">
          <a:xfrm>
            <a:off x="1468503" y="-14552"/>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116708" tIns="58354" rIns="116708" bIns="58354" numCol="1" anchor="t" anchorCtr="0" compatLnSpc="1">
            <a:prstTxWarp prst="textNoShape">
              <a:avLst/>
            </a:prstTxWarp>
          </a:bodyPr>
          <a:lstStyle/>
          <a:p>
            <a:endParaRPr lang="en-US" sz="3063" dirty="0">
              <a:latin typeface="Segoe UI" panose="020B0502040204020203" pitchFamily="34" charset="0"/>
              <a:cs typeface="Segoe UI" panose="020B0502040204020203" pitchFamily="34" charset="0"/>
            </a:endParaRPr>
          </a:p>
        </p:txBody>
      </p:sp>
      <p:grpSp>
        <p:nvGrpSpPr>
          <p:cNvPr id="5" name="Group 4"/>
          <p:cNvGrpSpPr/>
          <p:nvPr userDrawn="1"/>
        </p:nvGrpSpPr>
        <p:grpSpPr>
          <a:xfrm>
            <a:off x="4938561" y="2397562"/>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63" dirty="0">
                <a:latin typeface="Segoe UI" panose="020B0502040204020203" pitchFamily="34" charset="0"/>
                <a:cs typeface="Segoe UI" panose="020B0502040204020203" pitchFamily="34" charset="0"/>
              </a:endParaRPr>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63" dirty="0">
                <a:latin typeface="Segoe UI" panose="020B0502040204020203" pitchFamily="34" charset="0"/>
                <a:cs typeface="Segoe UI" panose="020B0502040204020203" pitchFamily="34" charset="0"/>
              </a:endParaRPr>
            </a:p>
          </p:txBody>
        </p:sp>
      </p:grpSp>
      <p:sp>
        <p:nvSpPr>
          <p:cNvPr id="16" name="Rectangle 15"/>
          <p:cNvSpPr/>
          <p:nvPr userDrawn="1"/>
        </p:nvSpPr>
        <p:spPr>
          <a:xfrm>
            <a:off x="803871" y="5006599"/>
            <a:ext cx="3918376" cy="779701"/>
          </a:xfrm>
          <a:prstGeom prst="rect">
            <a:avLst/>
          </a:prstGeom>
        </p:spPr>
        <p:txBody>
          <a:bodyPr wrap="square" lIns="0" tIns="0" rIns="0" bIns="0" anchor="b" anchorCtr="0">
            <a:spAutoFit/>
          </a:bodyPr>
          <a:lstStyle/>
          <a:p>
            <a:pPr>
              <a:spcAft>
                <a:spcPts val="766"/>
              </a:spcAft>
            </a:pPr>
            <a:r>
              <a:rPr lang="en-US" sz="1100" noProof="0" dirty="0">
                <a:solidFill>
                  <a:schemeClr val="bg1"/>
                </a:solidFill>
                <a:latin typeface="Segoe UI" panose="020B0502040204020203" pitchFamily="34" charset="0"/>
                <a:cs typeface="Segoe UI" panose="020B0502040204020203" pitchFamily="34" charset="0"/>
              </a:rPr>
              <a:t>This message contains information that may be privileged or confidential and is the property of the Capgemini Group.</a:t>
            </a:r>
            <a:br>
              <a:rPr lang="en-US" sz="1100" noProof="0" dirty="0">
                <a:solidFill>
                  <a:schemeClr val="bg1"/>
                </a:solidFill>
                <a:latin typeface="Segoe UI" panose="020B0502040204020203" pitchFamily="34" charset="0"/>
                <a:cs typeface="Segoe UI" panose="020B0502040204020203" pitchFamily="34" charset="0"/>
              </a:rPr>
            </a:br>
            <a:r>
              <a:rPr lang="en-US" sz="1100" noProof="0" dirty="0">
                <a:solidFill>
                  <a:schemeClr val="bg1"/>
                </a:solidFill>
                <a:latin typeface="Segoe UI" panose="020B0502040204020203" pitchFamily="34" charset="0"/>
                <a:cs typeface="Segoe UI" panose="020B0502040204020203" pitchFamily="34" charset="0"/>
              </a:rPr>
              <a:t>Copyright © 2018 Capgemini. All rights reserved.</a:t>
            </a:r>
          </a:p>
          <a:p>
            <a:pPr marL="0" marR="0" indent="0" defTabSz="1222411" rtl="0" eaLnBrk="1" fontAlgn="auto" latinLnBrk="0" hangingPunct="1">
              <a:lnSpc>
                <a:spcPct val="100000"/>
              </a:lnSpc>
              <a:spcBef>
                <a:spcPts val="0"/>
              </a:spcBef>
              <a:spcAft>
                <a:spcPts val="766"/>
              </a:spcAft>
              <a:buClrTx/>
              <a:buSzTx/>
              <a:buFontTx/>
              <a:buNone/>
              <a:tabLst/>
              <a:defRPr/>
            </a:pPr>
            <a:r>
              <a:rPr lang="en-US" sz="1100" noProof="0" dirty="0">
                <a:solidFill>
                  <a:schemeClr val="bg1"/>
                </a:solidFill>
                <a:latin typeface="Segoe UI" panose="020B0502040204020203" pitchFamily="34" charset="0"/>
                <a:cs typeface="Segoe UI" panose="020B0502040204020203" pitchFamily="34" charset="0"/>
              </a:rPr>
              <a:t>Rightshore</a:t>
            </a:r>
            <a:r>
              <a:rPr lang="en-US" sz="1100" baseline="30000" noProof="0" dirty="0">
                <a:solidFill>
                  <a:schemeClr val="bg1"/>
                </a:solidFill>
                <a:latin typeface="Segoe UI" panose="020B0502040204020203" pitchFamily="34" charset="0"/>
                <a:cs typeface="Segoe UI" panose="020B0502040204020203" pitchFamily="34" charset="0"/>
              </a:rPr>
              <a:t>®</a:t>
            </a:r>
            <a:r>
              <a:rPr lang="en-US" sz="1100" noProof="0" dirty="0">
                <a:solidFill>
                  <a:schemeClr val="bg1"/>
                </a:solidFill>
                <a:latin typeface="Segoe UI" panose="020B0502040204020203" pitchFamily="34" charset="0"/>
                <a:cs typeface="Segoe UI" panose="020B0502040204020203" pitchFamily="34" charset="0"/>
              </a:rPr>
              <a:t> is a trademark belonging to Capgemini.</a:t>
            </a:r>
          </a:p>
        </p:txBody>
      </p:sp>
      <p:sp>
        <p:nvSpPr>
          <p:cNvPr id="18" name="Rectangle 17">
            <a:hlinkClick r:id="rId6"/>
          </p:cNvPr>
          <p:cNvSpPr/>
          <p:nvPr userDrawn="1"/>
        </p:nvSpPr>
        <p:spPr>
          <a:xfrm>
            <a:off x="7003822" y="2817791"/>
            <a:ext cx="2293461" cy="124781"/>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6708" tIns="58354" rIns="116708" bIns="58354" rtlCol="0" anchor="ctr"/>
          <a:lstStyle/>
          <a:p>
            <a:pPr algn="ctr"/>
            <a:endParaRPr lang="en-GB" sz="4084" dirty="0">
              <a:latin typeface="Segoe UI" panose="020B0502040204020203" pitchFamily="34" charset="0"/>
              <a:cs typeface="Segoe UI" panose="020B0502040204020203" pitchFamily="34" charset="0"/>
            </a:endParaRPr>
          </a:p>
        </p:txBody>
      </p:sp>
      <p:pic>
        <p:nvPicPr>
          <p:cNvPr id="24"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1237871" y="3450893"/>
            <a:ext cx="436029" cy="444510"/>
          </a:xfrm>
          <a:prstGeom prst="rect">
            <a:avLst/>
          </a:prstGeom>
          <a:noFill/>
        </p:spPr>
      </p:pic>
      <p:pic>
        <p:nvPicPr>
          <p:cNvPr id="25"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739568" y="3450893"/>
            <a:ext cx="436029" cy="444510"/>
          </a:xfrm>
          <a:prstGeom prst="rect">
            <a:avLst/>
          </a:prstGeom>
          <a:noFill/>
        </p:spPr>
      </p:pic>
      <p:pic>
        <p:nvPicPr>
          <p:cNvPr id="26"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2241266" y="3450893"/>
            <a:ext cx="436029" cy="444510"/>
          </a:xfrm>
          <a:prstGeom prst="rect">
            <a:avLst/>
          </a:prstGeom>
          <a:noFill/>
        </p:spPr>
      </p:pic>
      <p:pic>
        <p:nvPicPr>
          <p:cNvPr id="27"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2742962" y="3450893"/>
            <a:ext cx="436029" cy="444510"/>
          </a:xfrm>
          <a:prstGeom prst="rect">
            <a:avLst/>
          </a:prstGeom>
          <a:noFill/>
        </p:spPr>
      </p:pic>
      <p:pic>
        <p:nvPicPr>
          <p:cNvPr id="28"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736172" y="3450893"/>
            <a:ext cx="436029" cy="444510"/>
          </a:xfrm>
          <a:prstGeom prst="rect">
            <a:avLst/>
          </a:prstGeom>
          <a:noFill/>
        </p:spPr>
      </p:pic>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26405" y="4057790"/>
            <a:ext cx="3350503" cy="268168"/>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10684698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4506178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ection Opener2">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Freeform 73"/>
          <p:cNvSpPr>
            <a:spLocks/>
          </p:cNvSpPr>
          <p:nvPr userDrawn="1"/>
        </p:nvSpPr>
        <p:spPr bwMode="auto">
          <a:xfrm flipH="1">
            <a:off x="6781800" y="-721502"/>
            <a:ext cx="7696200" cy="7579502"/>
          </a:xfrm>
          <a:custGeom>
            <a:avLst/>
            <a:gdLst>
              <a:gd name="T0" fmla="*/ 527 w 527"/>
              <a:gd name="T1" fmla="*/ 232 h 519"/>
              <a:gd name="T2" fmla="*/ 132 w 527"/>
              <a:gd name="T3" fmla="*/ 53 h 519"/>
              <a:gd name="T4" fmla="*/ 29 w 527"/>
              <a:gd name="T5" fmla="*/ 254 h 519"/>
              <a:gd name="T6" fmla="*/ 375 w 527"/>
              <a:gd name="T7" fmla="*/ 456 h 519"/>
              <a:gd name="T8" fmla="*/ 377 w 527"/>
              <a:gd name="T9" fmla="*/ 519 h 519"/>
              <a:gd name="T10" fmla="*/ 411 w 527"/>
              <a:gd name="T11" fmla="*/ 519 h 519"/>
              <a:gd name="T12" fmla="*/ 527 w 527"/>
              <a:gd name="T13" fmla="*/ 232 h 519"/>
            </a:gdLst>
            <a:ahLst/>
            <a:cxnLst>
              <a:cxn ang="0">
                <a:pos x="T0" y="T1"/>
              </a:cxn>
              <a:cxn ang="0">
                <a:pos x="T2" y="T3"/>
              </a:cxn>
              <a:cxn ang="0">
                <a:pos x="T4" y="T5"/>
              </a:cxn>
              <a:cxn ang="0">
                <a:pos x="T6" y="T7"/>
              </a:cxn>
              <a:cxn ang="0">
                <a:pos x="T8" y="T9"/>
              </a:cxn>
              <a:cxn ang="0">
                <a:pos x="T10" y="T11"/>
              </a:cxn>
              <a:cxn ang="0">
                <a:pos x="T12" y="T13"/>
              </a:cxn>
            </a:cxnLst>
            <a:rect l="0" t="0" r="r" b="b"/>
            <a:pathLst>
              <a:path w="527" h="519">
                <a:moveTo>
                  <a:pt x="527" y="232"/>
                </a:moveTo>
                <a:cubicBezTo>
                  <a:pt x="428" y="195"/>
                  <a:pt x="294" y="0"/>
                  <a:pt x="132" y="53"/>
                </a:cubicBezTo>
                <a:cubicBezTo>
                  <a:pt x="40" y="84"/>
                  <a:pt x="0" y="183"/>
                  <a:pt x="29" y="254"/>
                </a:cubicBezTo>
                <a:cubicBezTo>
                  <a:pt x="96" y="420"/>
                  <a:pt x="335" y="344"/>
                  <a:pt x="375" y="456"/>
                </a:cubicBezTo>
                <a:cubicBezTo>
                  <a:pt x="384" y="483"/>
                  <a:pt x="383" y="503"/>
                  <a:pt x="377" y="519"/>
                </a:cubicBezTo>
                <a:cubicBezTo>
                  <a:pt x="411" y="519"/>
                  <a:pt x="411" y="519"/>
                  <a:pt x="411" y="519"/>
                </a:cubicBezTo>
                <a:cubicBezTo>
                  <a:pt x="487" y="453"/>
                  <a:pt x="522" y="345"/>
                  <a:pt x="527" y="232"/>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379131" y="2719643"/>
            <a:ext cx="4751909" cy="1418714"/>
          </a:xfrm>
          <a:prstGeom prst="rect">
            <a:avLst/>
          </a:prstGeom>
        </p:spPr>
        <p:txBody>
          <a:bodyPr anchor="t" anchorCtr="0">
            <a:normAutofit/>
          </a:bodyPr>
          <a:lstStyle>
            <a:lvl1pPr marL="0" indent="0" algn="l">
              <a:lnSpc>
                <a:spcPct val="100000"/>
              </a:lnSpc>
              <a:buNone/>
              <a:defRPr sz="4400">
                <a:solidFill>
                  <a:schemeClr val="bg1"/>
                </a:solidFill>
              </a:defRPr>
            </a:lvl1pPr>
            <a:lvl2pPr marL="457200" indent="0">
              <a:buNone/>
              <a:defRPr sz="6000">
                <a:solidFill>
                  <a:schemeClr val="bg1"/>
                </a:solidFill>
              </a:defRPr>
            </a:lvl2pPr>
          </a:lstStyle>
          <a:p>
            <a:pPr lvl="0"/>
            <a:r>
              <a:rPr lang="en-US"/>
              <a:t>Click to add section title</a:t>
            </a:r>
          </a:p>
        </p:txBody>
      </p:sp>
    </p:spTree>
    <p:extLst>
      <p:ext uri="{BB962C8B-B14F-4D97-AF65-F5344CB8AC3E}">
        <p14:creationId xmlns:p14="http://schemas.microsoft.com/office/powerpoint/2010/main" val="21923915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ck_Background">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3200" y="6306704"/>
            <a:ext cx="1062165" cy="551297"/>
          </a:xfrm>
          <a:prstGeom prst="rect">
            <a:avLst/>
          </a:prstGeom>
        </p:spPr>
      </p:pic>
    </p:spTree>
    <p:extLst>
      <p:ext uri="{BB962C8B-B14F-4D97-AF65-F5344CB8AC3E}">
        <p14:creationId xmlns:p14="http://schemas.microsoft.com/office/powerpoint/2010/main" val="32360762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lack_Background">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3200" y="6306704"/>
            <a:ext cx="1062165" cy="551297"/>
          </a:xfrm>
          <a:prstGeom prst="rect">
            <a:avLst/>
          </a:prstGeom>
        </p:spPr>
      </p:pic>
    </p:spTree>
    <p:extLst>
      <p:ext uri="{BB962C8B-B14F-4D97-AF65-F5344CB8AC3E}">
        <p14:creationId xmlns:p14="http://schemas.microsoft.com/office/powerpoint/2010/main" val="1295685859"/>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ine Header Content">
    <p:spTree>
      <p:nvGrpSpPr>
        <p:cNvPr id="1" name=""/>
        <p:cNvGrpSpPr/>
        <p:nvPr/>
      </p:nvGrpSpPr>
      <p:grpSpPr>
        <a:xfrm>
          <a:off x="0" y="0"/>
          <a:ext cx="0" cy="0"/>
          <a:chOff x="0" y="0"/>
          <a:chExt cx="0" cy="0"/>
        </a:xfrm>
      </p:grpSpPr>
      <p:cxnSp>
        <p:nvCxnSpPr>
          <p:cNvPr id="14" name="Straight Connector 13"/>
          <p:cNvCxnSpPr/>
          <p:nvPr userDrawn="1"/>
        </p:nvCxnSpPr>
        <p:spPr>
          <a:xfrm>
            <a:off x="523393" y="458827"/>
            <a:ext cx="11129819" cy="0"/>
          </a:xfrm>
          <a:prstGeom prst="line">
            <a:avLst/>
          </a:prstGeom>
          <a:ln w="19050" cmpd="sng">
            <a:solidFill>
              <a:srgbClr val="58595B"/>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4"/>
          <p:cNvSpPr>
            <a:spLocks noGrp="1"/>
          </p:cNvSpPr>
          <p:nvPr>
            <p:ph type="body" sz="quarter" idx="10" hasCustomPrompt="1"/>
          </p:nvPr>
        </p:nvSpPr>
        <p:spPr>
          <a:xfrm>
            <a:off x="523393" y="200909"/>
            <a:ext cx="11129819" cy="218952"/>
          </a:xfrm>
          <a:prstGeom prst="rect">
            <a:avLst/>
          </a:prstGeom>
        </p:spPr>
        <p:txBody>
          <a:bodyPr vert="horz" lIns="0" tIns="0" rIns="0" bIns="0"/>
          <a:lstStyle>
            <a:lvl1pPr marL="0" indent="0">
              <a:spcBef>
                <a:spcPts val="0"/>
              </a:spcBef>
              <a:buNone/>
              <a:defRPr lang="en-US" sz="1200" b="0" i="0" kern="1200" smtClean="0">
                <a:solidFill>
                  <a:srgbClr val="58595B"/>
                </a:solidFill>
                <a:latin typeface="Helvetica" charset="0"/>
                <a:ea typeface="Helvetica" charset="0"/>
                <a:cs typeface="Helvetica" charset="0"/>
              </a:defRPr>
            </a:lvl1pPr>
          </a:lstStyle>
          <a:p>
            <a:pPr lvl="0"/>
            <a:r>
              <a:rPr lang="en-US" dirty="0"/>
              <a:t>CLICK TO EDIT MASTER TEXT STYLES</a:t>
            </a:r>
          </a:p>
        </p:txBody>
      </p:sp>
    </p:spTree>
    <p:extLst>
      <p:ext uri="{BB962C8B-B14F-4D97-AF65-F5344CB8AC3E}">
        <p14:creationId xmlns:p14="http://schemas.microsoft.com/office/powerpoint/2010/main" val="18134691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407988" y="2782297"/>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1" dirty="0">
                <a:solidFill>
                  <a:schemeClr val="tx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4400324"/>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b="1" dirty="0">
                <a:solidFill>
                  <a:schemeClr val="tx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27149239"/>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Titre seul">
    <p:spTree>
      <p:nvGrpSpPr>
        <p:cNvPr id="1" name=""/>
        <p:cNvGrpSpPr/>
        <p:nvPr/>
      </p:nvGrpSpPr>
      <p:grpSpPr>
        <a:xfrm>
          <a:off x="0" y="0"/>
          <a:ext cx="0" cy="0"/>
          <a:chOff x="0" y="0"/>
          <a:chExt cx="0" cy="0"/>
        </a:xfrm>
      </p:grpSpPr>
      <p:grpSp>
        <p:nvGrpSpPr>
          <p:cNvPr id="4" name="Group 3"/>
          <p:cNvGrpSpPr/>
          <p:nvPr userDrawn="1"/>
        </p:nvGrpSpPr>
        <p:grpSpPr>
          <a:xfrm>
            <a:off x="-5324" y="-11820"/>
            <a:ext cx="12216384" cy="1372079"/>
            <a:chOff x="-3993" y="-8865"/>
            <a:chExt cx="9162288" cy="1029059"/>
          </a:xfrm>
        </p:grpSpPr>
        <p:sp>
          <p:nvSpPr>
            <p:cNvPr id="8" name="Rectangle 7"/>
            <p:cNvSpPr/>
            <p:nvPr userDrawn="1">
              <p:custDataLst>
                <p:tags r:id="rId3"/>
              </p:custDataLst>
            </p:nvPr>
          </p:nvSpPr>
          <p:spPr bwMode="auto">
            <a:xfrm>
              <a:off x="-1041" y="-8865"/>
              <a:ext cx="9147298" cy="102905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17461"/>
                <a:gd name="connsiteY0" fmla="*/ 726087 h 4303631"/>
                <a:gd name="connsiteX1" fmla="*/ 21716773 w 21717461"/>
                <a:gd name="connsiteY1" fmla="*/ 54 h 4303631"/>
                <a:gd name="connsiteX2" fmla="*/ 21716773 w 21717461"/>
                <a:gd name="connsiteY2" fmla="*/ 3144336 h 4303631"/>
                <a:gd name="connsiteX3" fmla="*/ 20922482 w 21717461"/>
                <a:gd name="connsiteY3" fmla="*/ 3529321 h 4303631"/>
                <a:gd name="connsiteX4" fmla="*/ 4242445 w 21717461"/>
                <a:gd name="connsiteY4" fmla="*/ 3505153 h 4303631"/>
                <a:gd name="connsiteX5" fmla="*/ 3099243 w 21717461"/>
                <a:gd name="connsiteY5" fmla="*/ 4303631 h 4303631"/>
                <a:gd name="connsiteX6" fmla="*/ 1924889 w 21717461"/>
                <a:gd name="connsiteY6" fmla="*/ 3505153 h 4303631"/>
                <a:gd name="connsiteX7" fmla="*/ 22601 w 21717461"/>
                <a:gd name="connsiteY7" fmla="*/ 3505153 h 4303631"/>
                <a:gd name="connsiteX8" fmla="*/ 0 w 21717461"/>
                <a:gd name="connsiteY8" fmla="*/ 726087 h 4303631"/>
                <a:gd name="connsiteX0" fmla="*/ 0 w 21694863"/>
                <a:gd name="connsiteY0" fmla="*/ 258723 h 4303719"/>
                <a:gd name="connsiteX1" fmla="*/ 21694175 w 21694863"/>
                <a:gd name="connsiteY1" fmla="*/ 142 h 4303719"/>
                <a:gd name="connsiteX2" fmla="*/ 21694175 w 21694863"/>
                <a:gd name="connsiteY2" fmla="*/ 3144424 h 4303719"/>
                <a:gd name="connsiteX3" fmla="*/ 20899884 w 21694863"/>
                <a:gd name="connsiteY3" fmla="*/ 3529409 h 4303719"/>
                <a:gd name="connsiteX4" fmla="*/ 4219847 w 21694863"/>
                <a:gd name="connsiteY4" fmla="*/ 3505241 h 4303719"/>
                <a:gd name="connsiteX5" fmla="*/ 3076645 w 21694863"/>
                <a:gd name="connsiteY5" fmla="*/ 4303719 h 4303719"/>
                <a:gd name="connsiteX6" fmla="*/ 1902291 w 21694863"/>
                <a:gd name="connsiteY6" fmla="*/ 3505241 h 4303719"/>
                <a:gd name="connsiteX7" fmla="*/ 3 w 21694863"/>
                <a:gd name="connsiteY7" fmla="*/ 3505241 h 4303719"/>
                <a:gd name="connsiteX8" fmla="*/ 0 w 21694863"/>
                <a:gd name="connsiteY8" fmla="*/ 258723 h 4303719"/>
                <a:gd name="connsiteX0" fmla="*/ 0 w 21716780"/>
                <a:gd name="connsiteY0" fmla="*/ 0 h 4044996"/>
                <a:gd name="connsiteX1" fmla="*/ 21716773 w 21716780"/>
                <a:gd name="connsiteY1" fmla="*/ 816560 h 4044996"/>
                <a:gd name="connsiteX2" fmla="*/ 21694175 w 21716780"/>
                <a:gd name="connsiteY2" fmla="*/ 2885701 h 4044996"/>
                <a:gd name="connsiteX3" fmla="*/ 20899884 w 21716780"/>
                <a:gd name="connsiteY3" fmla="*/ 3270686 h 4044996"/>
                <a:gd name="connsiteX4" fmla="*/ 4219847 w 21716780"/>
                <a:gd name="connsiteY4" fmla="*/ 3246518 h 4044996"/>
                <a:gd name="connsiteX5" fmla="*/ 3076645 w 21716780"/>
                <a:gd name="connsiteY5" fmla="*/ 4044996 h 4044996"/>
                <a:gd name="connsiteX6" fmla="*/ 1902291 w 21716780"/>
                <a:gd name="connsiteY6" fmla="*/ 3246518 h 4044996"/>
                <a:gd name="connsiteX7" fmla="*/ 3 w 21716780"/>
                <a:gd name="connsiteY7" fmla="*/ 3246518 h 4044996"/>
                <a:gd name="connsiteX8" fmla="*/ 0 w 21716780"/>
                <a:gd name="connsiteY8" fmla="*/ 0 h 4044996"/>
                <a:gd name="connsiteX0" fmla="*/ 0 w 21716780"/>
                <a:gd name="connsiteY0" fmla="*/ 0 h 4044996"/>
                <a:gd name="connsiteX1" fmla="*/ 21716773 w 21716780"/>
                <a:gd name="connsiteY1" fmla="*/ 45263 h 4044996"/>
                <a:gd name="connsiteX2" fmla="*/ 21694175 w 21716780"/>
                <a:gd name="connsiteY2" fmla="*/ 2885701 h 4044996"/>
                <a:gd name="connsiteX3" fmla="*/ 20899884 w 21716780"/>
                <a:gd name="connsiteY3" fmla="*/ 3270686 h 4044996"/>
                <a:gd name="connsiteX4" fmla="*/ 4219847 w 21716780"/>
                <a:gd name="connsiteY4" fmla="*/ 3246518 h 4044996"/>
                <a:gd name="connsiteX5" fmla="*/ 3076645 w 21716780"/>
                <a:gd name="connsiteY5" fmla="*/ 4044996 h 4044996"/>
                <a:gd name="connsiteX6" fmla="*/ 1902291 w 21716780"/>
                <a:gd name="connsiteY6" fmla="*/ 3246518 h 4044996"/>
                <a:gd name="connsiteX7" fmla="*/ 3 w 21716780"/>
                <a:gd name="connsiteY7" fmla="*/ 3246518 h 4044996"/>
                <a:gd name="connsiteX8" fmla="*/ 0 w 21716780"/>
                <a:gd name="connsiteY8" fmla="*/ 0 h 4044996"/>
                <a:gd name="connsiteX0" fmla="*/ 0 w 21699862"/>
                <a:gd name="connsiteY0" fmla="*/ 0 h 4044996"/>
                <a:gd name="connsiteX1" fmla="*/ 21699824 w 21699862"/>
                <a:gd name="connsiteY1" fmla="*/ 33578 h 4044996"/>
                <a:gd name="connsiteX2" fmla="*/ 21694175 w 21699862"/>
                <a:gd name="connsiteY2" fmla="*/ 2885701 h 4044996"/>
                <a:gd name="connsiteX3" fmla="*/ 20899884 w 21699862"/>
                <a:gd name="connsiteY3" fmla="*/ 3270686 h 4044996"/>
                <a:gd name="connsiteX4" fmla="*/ 4219847 w 21699862"/>
                <a:gd name="connsiteY4" fmla="*/ 3246518 h 4044996"/>
                <a:gd name="connsiteX5" fmla="*/ 3076645 w 21699862"/>
                <a:gd name="connsiteY5" fmla="*/ 4044996 h 4044996"/>
                <a:gd name="connsiteX6" fmla="*/ 1902291 w 21699862"/>
                <a:gd name="connsiteY6" fmla="*/ 3246518 h 4044996"/>
                <a:gd name="connsiteX7" fmla="*/ 3 w 21699862"/>
                <a:gd name="connsiteY7" fmla="*/ 3246518 h 4044996"/>
                <a:gd name="connsiteX8" fmla="*/ 0 w 21699862"/>
                <a:gd name="connsiteY8" fmla="*/ 0 h 4044996"/>
                <a:gd name="connsiteX0" fmla="*/ 0 w 21699862"/>
                <a:gd name="connsiteY0" fmla="*/ 0 h 4044996"/>
                <a:gd name="connsiteX1" fmla="*/ 21699824 w 21699862"/>
                <a:gd name="connsiteY1" fmla="*/ 33578 h 4044996"/>
                <a:gd name="connsiteX2" fmla="*/ 21694175 w 21699862"/>
                <a:gd name="connsiteY2" fmla="*/ 2885701 h 4044996"/>
                <a:gd name="connsiteX3" fmla="*/ 20899884 w 21699862"/>
                <a:gd name="connsiteY3" fmla="*/ 3270686 h 4044996"/>
                <a:gd name="connsiteX4" fmla="*/ 4219847 w 21699862"/>
                <a:gd name="connsiteY4" fmla="*/ 3246518 h 4044996"/>
                <a:gd name="connsiteX5" fmla="*/ 3076645 w 21699862"/>
                <a:gd name="connsiteY5" fmla="*/ 4044996 h 4044996"/>
                <a:gd name="connsiteX6" fmla="*/ 1902291 w 21699862"/>
                <a:gd name="connsiteY6" fmla="*/ 3246518 h 4044996"/>
                <a:gd name="connsiteX7" fmla="*/ 1034633 w 21699862"/>
                <a:gd name="connsiteY7" fmla="*/ 3253993 h 4044996"/>
                <a:gd name="connsiteX8" fmla="*/ 3 w 21699862"/>
                <a:gd name="connsiteY8" fmla="*/ 3246518 h 4044996"/>
                <a:gd name="connsiteX9" fmla="*/ 0 w 21699862"/>
                <a:gd name="connsiteY9" fmla="*/ 0 h 4044996"/>
                <a:gd name="connsiteX0" fmla="*/ 0 w 21699862"/>
                <a:gd name="connsiteY0" fmla="*/ 22627 h 4067623"/>
                <a:gd name="connsiteX1" fmla="*/ 1034633 w 21699862"/>
                <a:gd name="connsiteY1" fmla="*/ 0 h 4067623"/>
                <a:gd name="connsiteX2" fmla="*/ 21699824 w 21699862"/>
                <a:gd name="connsiteY2" fmla="*/ 56205 h 4067623"/>
                <a:gd name="connsiteX3" fmla="*/ 21694175 w 21699862"/>
                <a:gd name="connsiteY3" fmla="*/ 2908328 h 4067623"/>
                <a:gd name="connsiteX4" fmla="*/ 20899884 w 21699862"/>
                <a:gd name="connsiteY4" fmla="*/ 3293313 h 4067623"/>
                <a:gd name="connsiteX5" fmla="*/ 4219847 w 21699862"/>
                <a:gd name="connsiteY5" fmla="*/ 3269145 h 4067623"/>
                <a:gd name="connsiteX6" fmla="*/ 3076645 w 21699862"/>
                <a:gd name="connsiteY6" fmla="*/ 4067623 h 4067623"/>
                <a:gd name="connsiteX7" fmla="*/ 1902291 w 21699862"/>
                <a:gd name="connsiteY7" fmla="*/ 3269145 h 4067623"/>
                <a:gd name="connsiteX8" fmla="*/ 1034633 w 21699862"/>
                <a:gd name="connsiteY8" fmla="*/ 3276620 h 4067623"/>
                <a:gd name="connsiteX9" fmla="*/ 3 w 21699862"/>
                <a:gd name="connsiteY9" fmla="*/ 3269145 h 4067623"/>
                <a:gd name="connsiteX10" fmla="*/ 0 w 21699862"/>
                <a:gd name="connsiteY10" fmla="*/ 22627 h 4067623"/>
                <a:gd name="connsiteX0" fmla="*/ 893057 w 22592916"/>
                <a:gd name="connsiteY0" fmla="*/ 3269145 h 4067623"/>
                <a:gd name="connsiteX1" fmla="*/ 1927687 w 22592916"/>
                <a:gd name="connsiteY1" fmla="*/ 0 h 4067623"/>
                <a:gd name="connsiteX2" fmla="*/ 22592878 w 22592916"/>
                <a:gd name="connsiteY2" fmla="*/ 56205 h 4067623"/>
                <a:gd name="connsiteX3" fmla="*/ 22587229 w 22592916"/>
                <a:gd name="connsiteY3" fmla="*/ 2908328 h 4067623"/>
                <a:gd name="connsiteX4" fmla="*/ 21792938 w 22592916"/>
                <a:gd name="connsiteY4" fmla="*/ 3293313 h 4067623"/>
                <a:gd name="connsiteX5" fmla="*/ 5112901 w 22592916"/>
                <a:gd name="connsiteY5" fmla="*/ 3269145 h 4067623"/>
                <a:gd name="connsiteX6" fmla="*/ 3969699 w 22592916"/>
                <a:gd name="connsiteY6" fmla="*/ 4067623 h 4067623"/>
                <a:gd name="connsiteX7" fmla="*/ 2795345 w 22592916"/>
                <a:gd name="connsiteY7" fmla="*/ 3269145 h 4067623"/>
                <a:gd name="connsiteX8" fmla="*/ 1927687 w 22592916"/>
                <a:gd name="connsiteY8" fmla="*/ 3276620 h 4067623"/>
                <a:gd name="connsiteX9" fmla="*/ 893057 w 22592916"/>
                <a:gd name="connsiteY9" fmla="*/ 3269145 h 4067623"/>
                <a:gd name="connsiteX0" fmla="*/ 0 w 20665229"/>
                <a:gd name="connsiteY0" fmla="*/ 3276620 h 4067623"/>
                <a:gd name="connsiteX1" fmla="*/ 0 w 20665229"/>
                <a:gd name="connsiteY1" fmla="*/ 0 h 4067623"/>
                <a:gd name="connsiteX2" fmla="*/ 20665191 w 20665229"/>
                <a:gd name="connsiteY2" fmla="*/ 56205 h 4067623"/>
                <a:gd name="connsiteX3" fmla="*/ 20659542 w 20665229"/>
                <a:gd name="connsiteY3" fmla="*/ 2908328 h 4067623"/>
                <a:gd name="connsiteX4" fmla="*/ 19865251 w 20665229"/>
                <a:gd name="connsiteY4" fmla="*/ 3293313 h 4067623"/>
                <a:gd name="connsiteX5" fmla="*/ 3185214 w 20665229"/>
                <a:gd name="connsiteY5" fmla="*/ 3269145 h 4067623"/>
                <a:gd name="connsiteX6" fmla="*/ 2042012 w 20665229"/>
                <a:gd name="connsiteY6" fmla="*/ 4067623 h 4067623"/>
                <a:gd name="connsiteX7" fmla="*/ 867658 w 20665229"/>
                <a:gd name="connsiteY7" fmla="*/ 3269145 h 4067623"/>
                <a:gd name="connsiteX8" fmla="*/ 0 w 20665229"/>
                <a:gd name="connsiteY8" fmla="*/ 3276620 h 4067623"/>
                <a:gd name="connsiteX0" fmla="*/ 30487 w 20695716"/>
                <a:gd name="connsiteY0" fmla="*/ 3247694 h 4038697"/>
                <a:gd name="connsiteX1" fmla="*/ 0 w 20695716"/>
                <a:gd name="connsiteY1" fmla="*/ 0 h 4038697"/>
                <a:gd name="connsiteX2" fmla="*/ 20695678 w 20695716"/>
                <a:gd name="connsiteY2" fmla="*/ 27279 h 4038697"/>
                <a:gd name="connsiteX3" fmla="*/ 20690029 w 20695716"/>
                <a:gd name="connsiteY3" fmla="*/ 2879402 h 4038697"/>
                <a:gd name="connsiteX4" fmla="*/ 19895738 w 20695716"/>
                <a:gd name="connsiteY4" fmla="*/ 3264387 h 4038697"/>
                <a:gd name="connsiteX5" fmla="*/ 3215701 w 20695716"/>
                <a:gd name="connsiteY5" fmla="*/ 3240219 h 4038697"/>
                <a:gd name="connsiteX6" fmla="*/ 2072499 w 20695716"/>
                <a:gd name="connsiteY6" fmla="*/ 4038697 h 4038697"/>
                <a:gd name="connsiteX7" fmla="*/ 898145 w 20695716"/>
                <a:gd name="connsiteY7" fmla="*/ 3240219 h 4038697"/>
                <a:gd name="connsiteX8" fmla="*/ 30487 w 20695716"/>
                <a:gd name="connsiteY8" fmla="*/ 3247694 h 4038697"/>
                <a:gd name="connsiteX0" fmla="*/ 7622 w 20695716"/>
                <a:gd name="connsiteY0" fmla="*/ 3231165 h 4038697"/>
                <a:gd name="connsiteX1" fmla="*/ 0 w 20695716"/>
                <a:gd name="connsiteY1" fmla="*/ 0 h 4038697"/>
                <a:gd name="connsiteX2" fmla="*/ 20695678 w 20695716"/>
                <a:gd name="connsiteY2" fmla="*/ 27279 h 4038697"/>
                <a:gd name="connsiteX3" fmla="*/ 20690029 w 20695716"/>
                <a:gd name="connsiteY3" fmla="*/ 2879402 h 4038697"/>
                <a:gd name="connsiteX4" fmla="*/ 19895738 w 20695716"/>
                <a:gd name="connsiteY4" fmla="*/ 3264387 h 4038697"/>
                <a:gd name="connsiteX5" fmla="*/ 3215701 w 20695716"/>
                <a:gd name="connsiteY5" fmla="*/ 3240219 h 4038697"/>
                <a:gd name="connsiteX6" fmla="*/ 2072499 w 20695716"/>
                <a:gd name="connsiteY6" fmla="*/ 4038697 h 4038697"/>
                <a:gd name="connsiteX7" fmla="*/ 898145 w 20695716"/>
                <a:gd name="connsiteY7" fmla="*/ 3240219 h 4038697"/>
                <a:gd name="connsiteX8" fmla="*/ 7622 w 20695716"/>
                <a:gd name="connsiteY8" fmla="*/ 3231165 h 4038697"/>
                <a:gd name="connsiteX0" fmla="*/ 7622 w 26846280"/>
                <a:gd name="connsiteY0" fmla="*/ 3231165 h 4038697"/>
                <a:gd name="connsiteX1" fmla="*/ 0 w 26846280"/>
                <a:gd name="connsiteY1" fmla="*/ 0 h 4038697"/>
                <a:gd name="connsiteX2" fmla="*/ 26846280 w 26846280"/>
                <a:gd name="connsiteY2" fmla="*/ 849000 h 4038697"/>
                <a:gd name="connsiteX3" fmla="*/ 20690029 w 26846280"/>
                <a:gd name="connsiteY3" fmla="*/ 2879402 h 4038697"/>
                <a:gd name="connsiteX4" fmla="*/ 19895738 w 26846280"/>
                <a:gd name="connsiteY4" fmla="*/ 3264387 h 4038697"/>
                <a:gd name="connsiteX5" fmla="*/ 3215701 w 26846280"/>
                <a:gd name="connsiteY5" fmla="*/ 3240219 h 4038697"/>
                <a:gd name="connsiteX6" fmla="*/ 2072499 w 26846280"/>
                <a:gd name="connsiteY6" fmla="*/ 4038697 h 4038697"/>
                <a:gd name="connsiteX7" fmla="*/ 898145 w 26846280"/>
                <a:gd name="connsiteY7" fmla="*/ 3240219 h 4038697"/>
                <a:gd name="connsiteX8" fmla="*/ 7622 w 26846280"/>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19895738 w 26879142"/>
                <a:gd name="connsiteY4" fmla="*/ 3264387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25989843 w 26879142"/>
                <a:gd name="connsiteY4" fmla="*/ 3195730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25989843 w 26879142"/>
                <a:gd name="connsiteY4" fmla="*/ 3195730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83264"/>
                <a:gd name="connsiteY0" fmla="*/ 3231165 h 4038697"/>
                <a:gd name="connsiteX1" fmla="*/ 0 w 26883264"/>
                <a:gd name="connsiteY1" fmla="*/ 0 h 4038697"/>
                <a:gd name="connsiteX2" fmla="*/ 26883213 w 26883264"/>
                <a:gd name="connsiteY2" fmla="*/ 797512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6 w 26875648"/>
                <a:gd name="connsiteY0" fmla="*/ 2733417 h 3540949"/>
                <a:gd name="connsiteX1" fmla="*/ 889350 w 26875648"/>
                <a:gd name="connsiteY1" fmla="*/ 0 h 3540949"/>
                <a:gd name="connsiteX2" fmla="*/ 26875597 w 26875648"/>
                <a:gd name="connsiteY2" fmla="*/ 288323 h 3540949"/>
                <a:gd name="connsiteX3" fmla="*/ 26871492 w 26875648"/>
                <a:gd name="connsiteY3" fmla="*/ 1649339 h 3540949"/>
                <a:gd name="connsiteX4" fmla="*/ 25496808 w 26875648"/>
                <a:gd name="connsiteY4" fmla="*/ 2692262 h 3540949"/>
                <a:gd name="connsiteX5" fmla="*/ 3208085 w 26875648"/>
                <a:gd name="connsiteY5" fmla="*/ 2742471 h 3540949"/>
                <a:gd name="connsiteX6" fmla="*/ 2064883 w 26875648"/>
                <a:gd name="connsiteY6" fmla="*/ 3540949 h 3540949"/>
                <a:gd name="connsiteX7" fmla="*/ 890529 w 26875648"/>
                <a:gd name="connsiteY7" fmla="*/ 2742471 h 3540949"/>
                <a:gd name="connsiteX8" fmla="*/ 6 w 26875648"/>
                <a:gd name="connsiteY8" fmla="*/ 2733417 h 3540949"/>
                <a:gd name="connsiteX0" fmla="*/ 6 w 26875648"/>
                <a:gd name="connsiteY0" fmla="*/ 2445094 h 3252626"/>
                <a:gd name="connsiteX1" fmla="*/ 894628 w 26875648"/>
                <a:gd name="connsiteY1" fmla="*/ 49230 h 3252626"/>
                <a:gd name="connsiteX2" fmla="*/ 26875597 w 26875648"/>
                <a:gd name="connsiteY2" fmla="*/ 0 h 3252626"/>
                <a:gd name="connsiteX3" fmla="*/ 26871492 w 26875648"/>
                <a:gd name="connsiteY3" fmla="*/ 1361016 h 3252626"/>
                <a:gd name="connsiteX4" fmla="*/ 25496808 w 26875648"/>
                <a:gd name="connsiteY4" fmla="*/ 2403939 h 3252626"/>
                <a:gd name="connsiteX5" fmla="*/ 3208085 w 26875648"/>
                <a:gd name="connsiteY5" fmla="*/ 2454148 h 3252626"/>
                <a:gd name="connsiteX6" fmla="*/ 2064883 w 26875648"/>
                <a:gd name="connsiteY6" fmla="*/ 3252626 h 3252626"/>
                <a:gd name="connsiteX7" fmla="*/ 890529 w 26875648"/>
                <a:gd name="connsiteY7" fmla="*/ 2454148 h 3252626"/>
                <a:gd name="connsiteX8" fmla="*/ 6 w 26875648"/>
                <a:gd name="connsiteY8" fmla="*/ 2445094 h 3252626"/>
                <a:gd name="connsiteX0" fmla="*/ 6 w 26875648"/>
                <a:gd name="connsiteY0" fmla="*/ 2447355 h 3254887"/>
                <a:gd name="connsiteX1" fmla="*/ 968498 w 26875648"/>
                <a:gd name="connsiteY1" fmla="*/ 0 h 3254887"/>
                <a:gd name="connsiteX2" fmla="*/ 26875597 w 26875648"/>
                <a:gd name="connsiteY2" fmla="*/ 2261 h 3254887"/>
                <a:gd name="connsiteX3" fmla="*/ 26871492 w 26875648"/>
                <a:gd name="connsiteY3" fmla="*/ 1363277 h 3254887"/>
                <a:gd name="connsiteX4" fmla="*/ 25496808 w 26875648"/>
                <a:gd name="connsiteY4" fmla="*/ 2406200 h 3254887"/>
                <a:gd name="connsiteX5" fmla="*/ 3208085 w 26875648"/>
                <a:gd name="connsiteY5" fmla="*/ 2456409 h 3254887"/>
                <a:gd name="connsiteX6" fmla="*/ 2064883 w 26875648"/>
                <a:gd name="connsiteY6" fmla="*/ 3254887 h 3254887"/>
                <a:gd name="connsiteX7" fmla="*/ 890529 w 26875648"/>
                <a:gd name="connsiteY7" fmla="*/ 2456409 h 3254887"/>
                <a:gd name="connsiteX8" fmla="*/ 6 w 26875648"/>
                <a:gd name="connsiteY8" fmla="*/ 2447355 h 3254887"/>
                <a:gd name="connsiteX0" fmla="*/ 6 w 26875648"/>
                <a:gd name="connsiteY0" fmla="*/ 2447355 h 3254887"/>
                <a:gd name="connsiteX1" fmla="*/ 968498 w 26875648"/>
                <a:gd name="connsiteY1" fmla="*/ 0 h 3254887"/>
                <a:gd name="connsiteX2" fmla="*/ 26875597 w 26875648"/>
                <a:gd name="connsiteY2" fmla="*/ 2261 h 3254887"/>
                <a:gd name="connsiteX3" fmla="*/ 26871492 w 26875648"/>
                <a:gd name="connsiteY3" fmla="*/ 1363277 h 3254887"/>
                <a:gd name="connsiteX4" fmla="*/ 25496808 w 26875648"/>
                <a:gd name="connsiteY4" fmla="*/ 2406200 h 3254887"/>
                <a:gd name="connsiteX5" fmla="*/ 3208085 w 26875648"/>
                <a:gd name="connsiteY5" fmla="*/ 2456409 h 3254887"/>
                <a:gd name="connsiteX6" fmla="*/ 2064883 w 26875648"/>
                <a:gd name="connsiteY6" fmla="*/ 3254887 h 3254887"/>
                <a:gd name="connsiteX7" fmla="*/ 890529 w 26875648"/>
                <a:gd name="connsiteY7" fmla="*/ 2456411 h 3254887"/>
                <a:gd name="connsiteX8" fmla="*/ 6 w 26875648"/>
                <a:gd name="connsiteY8" fmla="*/ 2447355 h 3254887"/>
                <a:gd name="connsiteX0" fmla="*/ 0 w 25985119"/>
                <a:gd name="connsiteY0" fmla="*/ 2456411 h 3254887"/>
                <a:gd name="connsiteX1" fmla="*/ 77969 w 25985119"/>
                <a:gd name="connsiteY1" fmla="*/ 0 h 3254887"/>
                <a:gd name="connsiteX2" fmla="*/ 25985068 w 25985119"/>
                <a:gd name="connsiteY2" fmla="*/ 2261 h 3254887"/>
                <a:gd name="connsiteX3" fmla="*/ 25980963 w 25985119"/>
                <a:gd name="connsiteY3" fmla="*/ 1363277 h 3254887"/>
                <a:gd name="connsiteX4" fmla="*/ 24606279 w 25985119"/>
                <a:gd name="connsiteY4" fmla="*/ 2406200 h 3254887"/>
                <a:gd name="connsiteX5" fmla="*/ 2317556 w 25985119"/>
                <a:gd name="connsiteY5" fmla="*/ 2456409 h 3254887"/>
                <a:gd name="connsiteX6" fmla="*/ 1174354 w 25985119"/>
                <a:gd name="connsiteY6" fmla="*/ 3254887 h 3254887"/>
                <a:gd name="connsiteX7" fmla="*/ 0 w 25985119"/>
                <a:gd name="connsiteY7" fmla="*/ 2456411 h 3254887"/>
                <a:gd name="connsiteX0" fmla="*/ 17005 w 25907150"/>
                <a:gd name="connsiteY0" fmla="*/ 2427806 h 3254887"/>
                <a:gd name="connsiteX1" fmla="*/ 0 w 25907150"/>
                <a:gd name="connsiteY1" fmla="*/ 0 h 3254887"/>
                <a:gd name="connsiteX2" fmla="*/ 25907099 w 25907150"/>
                <a:gd name="connsiteY2" fmla="*/ 2261 h 3254887"/>
                <a:gd name="connsiteX3" fmla="*/ 25902994 w 25907150"/>
                <a:gd name="connsiteY3" fmla="*/ 1363277 h 3254887"/>
                <a:gd name="connsiteX4" fmla="*/ 24528310 w 25907150"/>
                <a:gd name="connsiteY4" fmla="*/ 2406200 h 3254887"/>
                <a:gd name="connsiteX5" fmla="*/ 2239587 w 25907150"/>
                <a:gd name="connsiteY5" fmla="*/ 2456409 h 3254887"/>
                <a:gd name="connsiteX6" fmla="*/ 1096385 w 25907150"/>
                <a:gd name="connsiteY6" fmla="*/ 3254887 h 3254887"/>
                <a:gd name="connsiteX7" fmla="*/ 17005 w 25907150"/>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09 h 3254887"/>
                <a:gd name="connsiteX6" fmla="*/ 1100487 w 25911252"/>
                <a:gd name="connsiteY6" fmla="*/ 3254887 h 3254887"/>
                <a:gd name="connsiteX7" fmla="*/ 0 w 25911252"/>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11 h 3254887"/>
                <a:gd name="connsiteX6" fmla="*/ 1100487 w 25911252"/>
                <a:gd name="connsiteY6" fmla="*/ 3254887 h 3254887"/>
                <a:gd name="connsiteX7" fmla="*/ 0 w 25911252"/>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11 h 3254887"/>
                <a:gd name="connsiteX6" fmla="*/ 1100487 w 25911252"/>
                <a:gd name="connsiteY6" fmla="*/ 3254887 h 3254887"/>
                <a:gd name="connsiteX7" fmla="*/ 0 w 25911252"/>
                <a:gd name="connsiteY7" fmla="*/ 2427806 h 3254887"/>
                <a:gd name="connsiteX0" fmla="*/ 0 w 25915879"/>
                <a:gd name="connsiteY0" fmla="*/ 2447870 h 3254887"/>
                <a:gd name="connsiteX1" fmla="*/ 8729 w 25915879"/>
                <a:gd name="connsiteY1" fmla="*/ 0 h 3254887"/>
                <a:gd name="connsiteX2" fmla="*/ 25915828 w 25915879"/>
                <a:gd name="connsiteY2" fmla="*/ 2261 h 3254887"/>
                <a:gd name="connsiteX3" fmla="*/ 25911723 w 25915879"/>
                <a:gd name="connsiteY3" fmla="*/ 1363277 h 3254887"/>
                <a:gd name="connsiteX4" fmla="*/ 24537039 w 25915879"/>
                <a:gd name="connsiteY4" fmla="*/ 2406200 h 3254887"/>
                <a:gd name="connsiteX5" fmla="*/ 2248316 w 25915879"/>
                <a:gd name="connsiteY5" fmla="*/ 2456411 h 3254887"/>
                <a:gd name="connsiteX6" fmla="*/ 1105114 w 25915879"/>
                <a:gd name="connsiteY6" fmla="*/ 3254887 h 3254887"/>
                <a:gd name="connsiteX7" fmla="*/ 0 w 25915879"/>
                <a:gd name="connsiteY7" fmla="*/ 2447870 h 3254887"/>
                <a:gd name="connsiteX0" fmla="*/ 0 w 25915879"/>
                <a:gd name="connsiteY0" fmla="*/ 2447870 h 3254887"/>
                <a:gd name="connsiteX1" fmla="*/ 8729 w 25915879"/>
                <a:gd name="connsiteY1" fmla="*/ 0 h 3254887"/>
                <a:gd name="connsiteX2" fmla="*/ 25915828 w 25915879"/>
                <a:gd name="connsiteY2" fmla="*/ 2261 h 3254887"/>
                <a:gd name="connsiteX3" fmla="*/ 25911723 w 25915879"/>
                <a:gd name="connsiteY3" fmla="*/ 1363277 h 3254887"/>
                <a:gd name="connsiteX4" fmla="*/ 24537039 w 25915879"/>
                <a:gd name="connsiteY4" fmla="*/ 2406200 h 3254887"/>
                <a:gd name="connsiteX5" fmla="*/ 2248316 w 25915879"/>
                <a:gd name="connsiteY5" fmla="*/ 2456411 h 3254887"/>
                <a:gd name="connsiteX6" fmla="*/ 1105114 w 25915879"/>
                <a:gd name="connsiteY6" fmla="*/ 3254887 h 3254887"/>
                <a:gd name="connsiteX7" fmla="*/ 0 w 25915879"/>
                <a:gd name="connsiteY7" fmla="*/ 2447870 h 3254887"/>
                <a:gd name="connsiteX0" fmla="*/ 0 w 25915879"/>
                <a:gd name="connsiteY0" fmla="*/ 2447870 h 3169172"/>
                <a:gd name="connsiteX1" fmla="*/ 8729 w 25915879"/>
                <a:gd name="connsiteY1" fmla="*/ 0 h 3169172"/>
                <a:gd name="connsiteX2" fmla="*/ 25915828 w 25915879"/>
                <a:gd name="connsiteY2" fmla="*/ 2261 h 3169172"/>
                <a:gd name="connsiteX3" fmla="*/ 25911723 w 25915879"/>
                <a:gd name="connsiteY3" fmla="*/ 1363277 h 3169172"/>
                <a:gd name="connsiteX4" fmla="*/ 24537039 w 25915879"/>
                <a:gd name="connsiteY4" fmla="*/ 2406200 h 3169172"/>
                <a:gd name="connsiteX5" fmla="*/ 2248316 w 25915879"/>
                <a:gd name="connsiteY5" fmla="*/ 2456411 h 3169172"/>
                <a:gd name="connsiteX6" fmla="*/ 1105113 w 25915879"/>
                <a:gd name="connsiteY6" fmla="*/ 3169172 h 3169172"/>
                <a:gd name="connsiteX7" fmla="*/ 0 w 25915879"/>
                <a:gd name="connsiteY7" fmla="*/ 2447870 h 3169172"/>
                <a:gd name="connsiteX0" fmla="*/ 0 w 25915879"/>
                <a:gd name="connsiteY0" fmla="*/ 2447870 h 3169172"/>
                <a:gd name="connsiteX1" fmla="*/ 8729 w 25915879"/>
                <a:gd name="connsiteY1" fmla="*/ 0 h 3169172"/>
                <a:gd name="connsiteX2" fmla="*/ 25915828 w 25915879"/>
                <a:gd name="connsiteY2" fmla="*/ 2261 h 3169172"/>
                <a:gd name="connsiteX3" fmla="*/ 25911723 w 25915879"/>
                <a:gd name="connsiteY3" fmla="*/ 1363277 h 3169172"/>
                <a:gd name="connsiteX4" fmla="*/ 24537039 w 25915879"/>
                <a:gd name="connsiteY4" fmla="*/ 2406200 h 3169172"/>
                <a:gd name="connsiteX5" fmla="*/ 2248316 w 25915879"/>
                <a:gd name="connsiteY5" fmla="*/ 2456411 h 3169172"/>
                <a:gd name="connsiteX6" fmla="*/ 1137451 w 25915879"/>
                <a:gd name="connsiteY6" fmla="*/ 3169172 h 3169172"/>
                <a:gd name="connsiteX7" fmla="*/ 0 w 25915879"/>
                <a:gd name="connsiteY7" fmla="*/ 2447870 h 3169172"/>
                <a:gd name="connsiteX0" fmla="*/ 0 w 25915879"/>
                <a:gd name="connsiteY0" fmla="*/ 2447870 h 3021118"/>
                <a:gd name="connsiteX1" fmla="*/ 8729 w 25915879"/>
                <a:gd name="connsiteY1" fmla="*/ 0 h 3021118"/>
                <a:gd name="connsiteX2" fmla="*/ 25915828 w 25915879"/>
                <a:gd name="connsiteY2" fmla="*/ 2261 h 3021118"/>
                <a:gd name="connsiteX3" fmla="*/ 25911723 w 25915879"/>
                <a:gd name="connsiteY3" fmla="*/ 1363277 h 3021118"/>
                <a:gd name="connsiteX4" fmla="*/ 24537039 w 25915879"/>
                <a:gd name="connsiteY4" fmla="*/ 2406200 h 3021118"/>
                <a:gd name="connsiteX5" fmla="*/ 2248316 w 25915879"/>
                <a:gd name="connsiteY5" fmla="*/ 2456411 h 3021118"/>
                <a:gd name="connsiteX6" fmla="*/ 1133859 w 25915879"/>
                <a:gd name="connsiteY6" fmla="*/ 3021118 h 3021118"/>
                <a:gd name="connsiteX7" fmla="*/ 0 w 25915879"/>
                <a:gd name="connsiteY7" fmla="*/ 2447870 h 3021118"/>
                <a:gd name="connsiteX0" fmla="*/ 0 w 25915879"/>
                <a:gd name="connsiteY0" fmla="*/ 2447870 h 3138002"/>
                <a:gd name="connsiteX1" fmla="*/ 8729 w 25915879"/>
                <a:gd name="connsiteY1" fmla="*/ 0 h 3138002"/>
                <a:gd name="connsiteX2" fmla="*/ 25915828 w 25915879"/>
                <a:gd name="connsiteY2" fmla="*/ 2261 h 3138002"/>
                <a:gd name="connsiteX3" fmla="*/ 25911723 w 25915879"/>
                <a:gd name="connsiteY3" fmla="*/ 1363277 h 3138002"/>
                <a:gd name="connsiteX4" fmla="*/ 24537039 w 25915879"/>
                <a:gd name="connsiteY4" fmla="*/ 2406200 h 3138002"/>
                <a:gd name="connsiteX5" fmla="*/ 2248316 w 25915879"/>
                <a:gd name="connsiteY5" fmla="*/ 2456411 h 3138002"/>
                <a:gd name="connsiteX6" fmla="*/ 1141043 w 25915879"/>
                <a:gd name="connsiteY6" fmla="*/ 3138002 h 3138002"/>
                <a:gd name="connsiteX7" fmla="*/ 0 w 25915879"/>
                <a:gd name="connsiteY7" fmla="*/ 2447870 h 3138002"/>
                <a:gd name="connsiteX0" fmla="*/ 0 w 25915879"/>
                <a:gd name="connsiteY0" fmla="*/ 2447870 h 3138002"/>
                <a:gd name="connsiteX1" fmla="*/ 8729 w 25915879"/>
                <a:gd name="connsiteY1" fmla="*/ 0 h 3138002"/>
                <a:gd name="connsiteX2" fmla="*/ 25915828 w 25915879"/>
                <a:gd name="connsiteY2" fmla="*/ 2261 h 3138002"/>
                <a:gd name="connsiteX3" fmla="*/ 25911723 w 25915879"/>
                <a:gd name="connsiteY3" fmla="*/ 1363277 h 3138002"/>
                <a:gd name="connsiteX4" fmla="*/ 24537039 w 25915879"/>
                <a:gd name="connsiteY4" fmla="*/ 2406200 h 3138002"/>
                <a:gd name="connsiteX5" fmla="*/ 2248316 w 25915879"/>
                <a:gd name="connsiteY5" fmla="*/ 2456411 h 3138002"/>
                <a:gd name="connsiteX6" fmla="*/ 1141043 w 25915879"/>
                <a:gd name="connsiteY6" fmla="*/ 3138002 h 3138002"/>
                <a:gd name="connsiteX7" fmla="*/ 0 w 25915879"/>
                <a:gd name="connsiteY7" fmla="*/ 2447870 h 3138002"/>
                <a:gd name="connsiteX0" fmla="*/ 0 w 25915879"/>
                <a:gd name="connsiteY0" fmla="*/ 2447870 h 3149688"/>
                <a:gd name="connsiteX1" fmla="*/ 8729 w 25915879"/>
                <a:gd name="connsiteY1" fmla="*/ 0 h 3149688"/>
                <a:gd name="connsiteX2" fmla="*/ 25915828 w 25915879"/>
                <a:gd name="connsiteY2" fmla="*/ 2261 h 3149688"/>
                <a:gd name="connsiteX3" fmla="*/ 25911723 w 25915879"/>
                <a:gd name="connsiteY3" fmla="*/ 1363277 h 3149688"/>
                <a:gd name="connsiteX4" fmla="*/ 24537039 w 25915879"/>
                <a:gd name="connsiteY4" fmla="*/ 2406200 h 3149688"/>
                <a:gd name="connsiteX5" fmla="*/ 2248316 w 25915879"/>
                <a:gd name="connsiteY5" fmla="*/ 2456411 h 3149688"/>
                <a:gd name="connsiteX6" fmla="*/ 1137451 w 25915879"/>
                <a:gd name="connsiteY6" fmla="*/ 3149688 h 3149688"/>
                <a:gd name="connsiteX7" fmla="*/ 0 w 25915879"/>
                <a:gd name="connsiteY7" fmla="*/ 2447870 h 3149688"/>
                <a:gd name="connsiteX0" fmla="*/ 0 w 25915879"/>
                <a:gd name="connsiteY0" fmla="*/ 2447870 h 3161374"/>
                <a:gd name="connsiteX1" fmla="*/ 8729 w 25915879"/>
                <a:gd name="connsiteY1" fmla="*/ 0 h 3161374"/>
                <a:gd name="connsiteX2" fmla="*/ 25915828 w 25915879"/>
                <a:gd name="connsiteY2" fmla="*/ 2261 h 3161374"/>
                <a:gd name="connsiteX3" fmla="*/ 25911723 w 25915879"/>
                <a:gd name="connsiteY3" fmla="*/ 1363277 h 3161374"/>
                <a:gd name="connsiteX4" fmla="*/ 24537039 w 25915879"/>
                <a:gd name="connsiteY4" fmla="*/ 2406200 h 3161374"/>
                <a:gd name="connsiteX5" fmla="*/ 2248316 w 25915879"/>
                <a:gd name="connsiteY5" fmla="*/ 2456411 h 3161374"/>
                <a:gd name="connsiteX6" fmla="*/ 1137451 w 25915879"/>
                <a:gd name="connsiteY6" fmla="*/ 3161374 h 3161374"/>
                <a:gd name="connsiteX7" fmla="*/ 0 w 25915879"/>
                <a:gd name="connsiteY7" fmla="*/ 2447870 h 316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15879" h="3161374">
                  <a:moveTo>
                    <a:pt x="0" y="2447870"/>
                  </a:moveTo>
                  <a:cubicBezTo>
                    <a:pt x="1367" y="1638601"/>
                    <a:pt x="7362" y="809269"/>
                    <a:pt x="8729" y="0"/>
                  </a:cubicBezTo>
                  <a:lnTo>
                    <a:pt x="25915828" y="2261"/>
                  </a:lnTo>
                  <a:cubicBezTo>
                    <a:pt x="25916341" y="69861"/>
                    <a:pt x="25912977" y="1319862"/>
                    <a:pt x="25911723" y="1363277"/>
                  </a:cubicBezTo>
                  <a:cubicBezTo>
                    <a:pt x="25915358" y="2480438"/>
                    <a:pt x="24907606" y="2405976"/>
                    <a:pt x="24537039" y="2406200"/>
                  </a:cubicBezTo>
                  <a:lnTo>
                    <a:pt x="2248316" y="2456411"/>
                  </a:lnTo>
                  <a:cubicBezTo>
                    <a:pt x="1655273" y="2466668"/>
                    <a:pt x="1329060" y="2698552"/>
                    <a:pt x="1137451" y="3161374"/>
                  </a:cubicBezTo>
                  <a:cubicBezTo>
                    <a:pt x="849876" y="2508248"/>
                    <a:pt x="329529" y="2457025"/>
                    <a:pt x="0" y="2447870"/>
                  </a:cubicBezTo>
                  <a:close/>
                </a:path>
              </a:pathLst>
            </a:custGeom>
            <a:solidFill>
              <a:schemeClr val="bg1"/>
            </a:solidFill>
            <a:ln w="12700" cmpd="sng" algn="ctr">
              <a:noFill/>
              <a:miter lim="800000"/>
              <a:headEnd/>
              <a:tailEnd/>
            </a:ln>
            <a:effectLst/>
          </p:spPr>
          <p:txBody>
            <a:bodyPr wrap="square" lIns="33059" tIns="42974" rIns="33059" bIns="42974" rtlCol="0" anchor="ctr"/>
            <a:lstStyle/>
            <a:p>
              <a:pPr algn="ctr" fontAlgn="auto">
                <a:spcBef>
                  <a:spcPts val="0"/>
                </a:spcBef>
                <a:spcAft>
                  <a:spcPts val="0"/>
                </a:spcAft>
              </a:pPr>
              <a:endParaRPr lang="en-US" sz="1333" dirty="0">
                <a:solidFill>
                  <a:schemeClr val="bg1"/>
                </a:solidFill>
                <a:latin typeface="Arial" pitchFamily="34" charset="0"/>
                <a:cs typeface="Arial" pitchFamily="34" charset="0"/>
              </a:endParaRPr>
            </a:p>
          </p:txBody>
        </p:sp>
        <p:sp>
          <p:nvSpPr>
            <p:cNvPr id="7" name="Rectangle 7"/>
            <p:cNvSpPr/>
            <p:nvPr userDrawn="1">
              <p:custDataLst>
                <p:tags r:id="rId4"/>
              </p:custDataLst>
            </p:nvPr>
          </p:nvSpPr>
          <p:spPr bwMode="auto">
            <a:xfrm>
              <a:off x="-3993" y="434757"/>
              <a:ext cx="9162288" cy="58543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17461"/>
                <a:gd name="connsiteY0" fmla="*/ 726087 h 4303631"/>
                <a:gd name="connsiteX1" fmla="*/ 21716773 w 21717461"/>
                <a:gd name="connsiteY1" fmla="*/ 54 h 4303631"/>
                <a:gd name="connsiteX2" fmla="*/ 21716773 w 21717461"/>
                <a:gd name="connsiteY2" fmla="*/ 3144336 h 4303631"/>
                <a:gd name="connsiteX3" fmla="*/ 20922482 w 21717461"/>
                <a:gd name="connsiteY3" fmla="*/ 3529321 h 4303631"/>
                <a:gd name="connsiteX4" fmla="*/ 4242445 w 21717461"/>
                <a:gd name="connsiteY4" fmla="*/ 3505153 h 4303631"/>
                <a:gd name="connsiteX5" fmla="*/ 3099243 w 21717461"/>
                <a:gd name="connsiteY5" fmla="*/ 4303631 h 4303631"/>
                <a:gd name="connsiteX6" fmla="*/ 1924889 w 21717461"/>
                <a:gd name="connsiteY6" fmla="*/ 3505153 h 4303631"/>
                <a:gd name="connsiteX7" fmla="*/ 22601 w 21717461"/>
                <a:gd name="connsiteY7" fmla="*/ 3505153 h 4303631"/>
                <a:gd name="connsiteX8" fmla="*/ 0 w 21717461"/>
                <a:gd name="connsiteY8" fmla="*/ 726087 h 4303631"/>
                <a:gd name="connsiteX0" fmla="*/ 0 w 21694863"/>
                <a:gd name="connsiteY0" fmla="*/ 258723 h 4303719"/>
                <a:gd name="connsiteX1" fmla="*/ 21694175 w 21694863"/>
                <a:gd name="connsiteY1" fmla="*/ 142 h 4303719"/>
                <a:gd name="connsiteX2" fmla="*/ 21694175 w 21694863"/>
                <a:gd name="connsiteY2" fmla="*/ 3144424 h 4303719"/>
                <a:gd name="connsiteX3" fmla="*/ 20899884 w 21694863"/>
                <a:gd name="connsiteY3" fmla="*/ 3529409 h 4303719"/>
                <a:gd name="connsiteX4" fmla="*/ 4219847 w 21694863"/>
                <a:gd name="connsiteY4" fmla="*/ 3505241 h 4303719"/>
                <a:gd name="connsiteX5" fmla="*/ 3076645 w 21694863"/>
                <a:gd name="connsiteY5" fmla="*/ 4303719 h 4303719"/>
                <a:gd name="connsiteX6" fmla="*/ 1902291 w 21694863"/>
                <a:gd name="connsiteY6" fmla="*/ 3505241 h 4303719"/>
                <a:gd name="connsiteX7" fmla="*/ 3 w 21694863"/>
                <a:gd name="connsiteY7" fmla="*/ 3505241 h 4303719"/>
                <a:gd name="connsiteX8" fmla="*/ 0 w 21694863"/>
                <a:gd name="connsiteY8" fmla="*/ 258723 h 4303719"/>
                <a:gd name="connsiteX0" fmla="*/ 0 w 21716780"/>
                <a:gd name="connsiteY0" fmla="*/ 0 h 4044996"/>
                <a:gd name="connsiteX1" fmla="*/ 21716773 w 21716780"/>
                <a:gd name="connsiteY1" fmla="*/ 816560 h 4044996"/>
                <a:gd name="connsiteX2" fmla="*/ 21694175 w 21716780"/>
                <a:gd name="connsiteY2" fmla="*/ 2885701 h 4044996"/>
                <a:gd name="connsiteX3" fmla="*/ 20899884 w 21716780"/>
                <a:gd name="connsiteY3" fmla="*/ 3270686 h 4044996"/>
                <a:gd name="connsiteX4" fmla="*/ 4219847 w 21716780"/>
                <a:gd name="connsiteY4" fmla="*/ 3246518 h 4044996"/>
                <a:gd name="connsiteX5" fmla="*/ 3076645 w 21716780"/>
                <a:gd name="connsiteY5" fmla="*/ 4044996 h 4044996"/>
                <a:gd name="connsiteX6" fmla="*/ 1902291 w 21716780"/>
                <a:gd name="connsiteY6" fmla="*/ 3246518 h 4044996"/>
                <a:gd name="connsiteX7" fmla="*/ 3 w 21716780"/>
                <a:gd name="connsiteY7" fmla="*/ 3246518 h 4044996"/>
                <a:gd name="connsiteX8" fmla="*/ 0 w 21716780"/>
                <a:gd name="connsiteY8" fmla="*/ 0 h 4044996"/>
                <a:gd name="connsiteX0" fmla="*/ 0 w 21716780"/>
                <a:gd name="connsiteY0" fmla="*/ 0 h 4044996"/>
                <a:gd name="connsiteX1" fmla="*/ 21716773 w 21716780"/>
                <a:gd name="connsiteY1" fmla="*/ 45263 h 4044996"/>
                <a:gd name="connsiteX2" fmla="*/ 21694175 w 21716780"/>
                <a:gd name="connsiteY2" fmla="*/ 2885701 h 4044996"/>
                <a:gd name="connsiteX3" fmla="*/ 20899884 w 21716780"/>
                <a:gd name="connsiteY3" fmla="*/ 3270686 h 4044996"/>
                <a:gd name="connsiteX4" fmla="*/ 4219847 w 21716780"/>
                <a:gd name="connsiteY4" fmla="*/ 3246518 h 4044996"/>
                <a:gd name="connsiteX5" fmla="*/ 3076645 w 21716780"/>
                <a:gd name="connsiteY5" fmla="*/ 4044996 h 4044996"/>
                <a:gd name="connsiteX6" fmla="*/ 1902291 w 21716780"/>
                <a:gd name="connsiteY6" fmla="*/ 3246518 h 4044996"/>
                <a:gd name="connsiteX7" fmla="*/ 3 w 21716780"/>
                <a:gd name="connsiteY7" fmla="*/ 3246518 h 4044996"/>
                <a:gd name="connsiteX8" fmla="*/ 0 w 21716780"/>
                <a:gd name="connsiteY8" fmla="*/ 0 h 4044996"/>
                <a:gd name="connsiteX0" fmla="*/ 0 w 21699862"/>
                <a:gd name="connsiteY0" fmla="*/ 0 h 4044996"/>
                <a:gd name="connsiteX1" fmla="*/ 21699824 w 21699862"/>
                <a:gd name="connsiteY1" fmla="*/ 33578 h 4044996"/>
                <a:gd name="connsiteX2" fmla="*/ 21694175 w 21699862"/>
                <a:gd name="connsiteY2" fmla="*/ 2885701 h 4044996"/>
                <a:gd name="connsiteX3" fmla="*/ 20899884 w 21699862"/>
                <a:gd name="connsiteY3" fmla="*/ 3270686 h 4044996"/>
                <a:gd name="connsiteX4" fmla="*/ 4219847 w 21699862"/>
                <a:gd name="connsiteY4" fmla="*/ 3246518 h 4044996"/>
                <a:gd name="connsiteX5" fmla="*/ 3076645 w 21699862"/>
                <a:gd name="connsiteY5" fmla="*/ 4044996 h 4044996"/>
                <a:gd name="connsiteX6" fmla="*/ 1902291 w 21699862"/>
                <a:gd name="connsiteY6" fmla="*/ 3246518 h 4044996"/>
                <a:gd name="connsiteX7" fmla="*/ 3 w 21699862"/>
                <a:gd name="connsiteY7" fmla="*/ 3246518 h 4044996"/>
                <a:gd name="connsiteX8" fmla="*/ 0 w 21699862"/>
                <a:gd name="connsiteY8" fmla="*/ 0 h 4044996"/>
                <a:gd name="connsiteX0" fmla="*/ 0 w 21699862"/>
                <a:gd name="connsiteY0" fmla="*/ 0 h 4044996"/>
                <a:gd name="connsiteX1" fmla="*/ 21699824 w 21699862"/>
                <a:gd name="connsiteY1" fmla="*/ 33578 h 4044996"/>
                <a:gd name="connsiteX2" fmla="*/ 21694175 w 21699862"/>
                <a:gd name="connsiteY2" fmla="*/ 2885701 h 4044996"/>
                <a:gd name="connsiteX3" fmla="*/ 20899884 w 21699862"/>
                <a:gd name="connsiteY3" fmla="*/ 3270686 h 4044996"/>
                <a:gd name="connsiteX4" fmla="*/ 4219847 w 21699862"/>
                <a:gd name="connsiteY4" fmla="*/ 3246518 h 4044996"/>
                <a:gd name="connsiteX5" fmla="*/ 3076645 w 21699862"/>
                <a:gd name="connsiteY5" fmla="*/ 4044996 h 4044996"/>
                <a:gd name="connsiteX6" fmla="*/ 1902291 w 21699862"/>
                <a:gd name="connsiteY6" fmla="*/ 3246518 h 4044996"/>
                <a:gd name="connsiteX7" fmla="*/ 1034633 w 21699862"/>
                <a:gd name="connsiteY7" fmla="*/ 3253993 h 4044996"/>
                <a:gd name="connsiteX8" fmla="*/ 3 w 21699862"/>
                <a:gd name="connsiteY8" fmla="*/ 3246518 h 4044996"/>
                <a:gd name="connsiteX9" fmla="*/ 0 w 21699862"/>
                <a:gd name="connsiteY9" fmla="*/ 0 h 4044996"/>
                <a:gd name="connsiteX0" fmla="*/ 0 w 21699862"/>
                <a:gd name="connsiteY0" fmla="*/ 22627 h 4067623"/>
                <a:gd name="connsiteX1" fmla="*/ 1034633 w 21699862"/>
                <a:gd name="connsiteY1" fmla="*/ 0 h 4067623"/>
                <a:gd name="connsiteX2" fmla="*/ 21699824 w 21699862"/>
                <a:gd name="connsiteY2" fmla="*/ 56205 h 4067623"/>
                <a:gd name="connsiteX3" fmla="*/ 21694175 w 21699862"/>
                <a:gd name="connsiteY3" fmla="*/ 2908328 h 4067623"/>
                <a:gd name="connsiteX4" fmla="*/ 20899884 w 21699862"/>
                <a:gd name="connsiteY4" fmla="*/ 3293313 h 4067623"/>
                <a:gd name="connsiteX5" fmla="*/ 4219847 w 21699862"/>
                <a:gd name="connsiteY5" fmla="*/ 3269145 h 4067623"/>
                <a:gd name="connsiteX6" fmla="*/ 3076645 w 21699862"/>
                <a:gd name="connsiteY6" fmla="*/ 4067623 h 4067623"/>
                <a:gd name="connsiteX7" fmla="*/ 1902291 w 21699862"/>
                <a:gd name="connsiteY7" fmla="*/ 3269145 h 4067623"/>
                <a:gd name="connsiteX8" fmla="*/ 1034633 w 21699862"/>
                <a:gd name="connsiteY8" fmla="*/ 3276620 h 4067623"/>
                <a:gd name="connsiteX9" fmla="*/ 3 w 21699862"/>
                <a:gd name="connsiteY9" fmla="*/ 3269145 h 4067623"/>
                <a:gd name="connsiteX10" fmla="*/ 0 w 21699862"/>
                <a:gd name="connsiteY10" fmla="*/ 22627 h 4067623"/>
                <a:gd name="connsiteX0" fmla="*/ 893057 w 22592916"/>
                <a:gd name="connsiteY0" fmla="*/ 3269145 h 4067623"/>
                <a:gd name="connsiteX1" fmla="*/ 1927687 w 22592916"/>
                <a:gd name="connsiteY1" fmla="*/ 0 h 4067623"/>
                <a:gd name="connsiteX2" fmla="*/ 22592878 w 22592916"/>
                <a:gd name="connsiteY2" fmla="*/ 56205 h 4067623"/>
                <a:gd name="connsiteX3" fmla="*/ 22587229 w 22592916"/>
                <a:gd name="connsiteY3" fmla="*/ 2908328 h 4067623"/>
                <a:gd name="connsiteX4" fmla="*/ 21792938 w 22592916"/>
                <a:gd name="connsiteY4" fmla="*/ 3293313 h 4067623"/>
                <a:gd name="connsiteX5" fmla="*/ 5112901 w 22592916"/>
                <a:gd name="connsiteY5" fmla="*/ 3269145 h 4067623"/>
                <a:gd name="connsiteX6" fmla="*/ 3969699 w 22592916"/>
                <a:gd name="connsiteY6" fmla="*/ 4067623 h 4067623"/>
                <a:gd name="connsiteX7" fmla="*/ 2795345 w 22592916"/>
                <a:gd name="connsiteY7" fmla="*/ 3269145 h 4067623"/>
                <a:gd name="connsiteX8" fmla="*/ 1927687 w 22592916"/>
                <a:gd name="connsiteY8" fmla="*/ 3276620 h 4067623"/>
                <a:gd name="connsiteX9" fmla="*/ 893057 w 22592916"/>
                <a:gd name="connsiteY9" fmla="*/ 3269145 h 4067623"/>
                <a:gd name="connsiteX0" fmla="*/ 0 w 20665229"/>
                <a:gd name="connsiteY0" fmla="*/ 3276620 h 4067623"/>
                <a:gd name="connsiteX1" fmla="*/ 0 w 20665229"/>
                <a:gd name="connsiteY1" fmla="*/ 0 h 4067623"/>
                <a:gd name="connsiteX2" fmla="*/ 20665191 w 20665229"/>
                <a:gd name="connsiteY2" fmla="*/ 56205 h 4067623"/>
                <a:gd name="connsiteX3" fmla="*/ 20659542 w 20665229"/>
                <a:gd name="connsiteY3" fmla="*/ 2908328 h 4067623"/>
                <a:gd name="connsiteX4" fmla="*/ 19865251 w 20665229"/>
                <a:gd name="connsiteY4" fmla="*/ 3293313 h 4067623"/>
                <a:gd name="connsiteX5" fmla="*/ 3185214 w 20665229"/>
                <a:gd name="connsiteY5" fmla="*/ 3269145 h 4067623"/>
                <a:gd name="connsiteX6" fmla="*/ 2042012 w 20665229"/>
                <a:gd name="connsiteY6" fmla="*/ 4067623 h 4067623"/>
                <a:gd name="connsiteX7" fmla="*/ 867658 w 20665229"/>
                <a:gd name="connsiteY7" fmla="*/ 3269145 h 4067623"/>
                <a:gd name="connsiteX8" fmla="*/ 0 w 20665229"/>
                <a:gd name="connsiteY8" fmla="*/ 3276620 h 4067623"/>
                <a:gd name="connsiteX0" fmla="*/ 30487 w 20695716"/>
                <a:gd name="connsiteY0" fmla="*/ 3247694 h 4038697"/>
                <a:gd name="connsiteX1" fmla="*/ 0 w 20695716"/>
                <a:gd name="connsiteY1" fmla="*/ 0 h 4038697"/>
                <a:gd name="connsiteX2" fmla="*/ 20695678 w 20695716"/>
                <a:gd name="connsiteY2" fmla="*/ 27279 h 4038697"/>
                <a:gd name="connsiteX3" fmla="*/ 20690029 w 20695716"/>
                <a:gd name="connsiteY3" fmla="*/ 2879402 h 4038697"/>
                <a:gd name="connsiteX4" fmla="*/ 19895738 w 20695716"/>
                <a:gd name="connsiteY4" fmla="*/ 3264387 h 4038697"/>
                <a:gd name="connsiteX5" fmla="*/ 3215701 w 20695716"/>
                <a:gd name="connsiteY5" fmla="*/ 3240219 h 4038697"/>
                <a:gd name="connsiteX6" fmla="*/ 2072499 w 20695716"/>
                <a:gd name="connsiteY6" fmla="*/ 4038697 h 4038697"/>
                <a:gd name="connsiteX7" fmla="*/ 898145 w 20695716"/>
                <a:gd name="connsiteY7" fmla="*/ 3240219 h 4038697"/>
                <a:gd name="connsiteX8" fmla="*/ 30487 w 20695716"/>
                <a:gd name="connsiteY8" fmla="*/ 3247694 h 4038697"/>
                <a:gd name="connsiteX0" fmla="*/ 7622 w 20695716"/>
                <a:gd name="connsiteY0" fmla="*/ 3231165 h 4038697"/>
                <a:gd name="connsiteX1" fmla="*/ 0 w 20695716"/>
                <a:gd name="connsiteY1" fmla="*/ 0 h 4038697"/>
                <a:gd name="connsiteX2" fmla="*/ 20695678 w 20695716"/>
                <a:gd name="connsiteY2" fmla="*/ 27279 h 4038697"/>
                <a:gd name="connsiteX3" fmla="*/ 20690029 w 20695716"/>
                <a:gd name="connsiteY3" fmla="*/ 2879402 h 4038697"/>
                <a:gd name="connsiteX4" fmla="*/ 19895738 w 20695716"/>
                <a:gd name="connsiteY4" fmla="*/ 3264387 h 4038697"/>
                <a:gd name="connsiteX5" fmla="*/ 3215701 w 20695716"/>
                <a:gd name="connsiteY5" fmla="*/ 3240219 h 4038697"/>
                <a:gd name="connsiteX6" fmla="*/ 2072499 w 20695716"/>
                <a:gd name="connsiteY6" fmla="*/ 4038697 h 4038697"/>
                <a:gd name="connsiteX7" fmla="*/ 898145 w 20695716"/>
                <a:gd name="connsiteY7" fmla="*/ 3240219 h 4038697"/>
                <a:gd name="connsiteX8" fmla="*/ 7622 w 20695716"/>
                <a:gd name="connsiteY8" fmla="*/ 3231165 h 4038697"/>
                <a:gd name="connsiteX0" fmla="*/ 7622 w 26846280"/>
                <a:gd name="connsiteY0" fmla="*/ 3231165 h 4038697"/>
                <a:gd name="connsiteX1" fmla="*/ 0 w 26846280"/>
                <a:gd name="connsiteY1" fmla="*/ 0 h 4038697"/>
                <a:gd name="connsiteX2" fmla="*/ 26846280 w 26846280"/>
                <a:gd name="connsiteY2" fmla="*/ 849000 h 4038697"/>
                <a:gd name="connsiteX3" fmla="*/ 20690029 w 26846280"/>
                <a:gd name="connsiteY3" fmla="*/ 2879402 h 4038697"/>
                <a:gd name="connsiteX4" fmla="*/ 19895738 w 26846280"/>
                <a:gd name="connsiteY4" fmla="*/ 3264387 h 4038697"/>
                <a:gd name="connsiteX5" fmla="*/ 3215701 w 26846280"/>
                <a:gd name="connsiteY5" fmla="*/ 3240219 h 4038697"/>
                <a:gd name="connsiteX6" fmla="*/ 2072499 w 26846280"/>
                <a:gd name="connsiteY6" fmla="*/ 4038697 h 4038697"/>
                <a:gd name="connsiteX7" fmla="*/ 898145 w 26846280"/>
                <a:gd name="connsiteY7" fmla="*/ 3240219 h 4038697"/>
                <a:gd name="connsiteX8" fmla="*/ 7622 w 26846280"/>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19895738 w 26879142"/>
                <a:gd name="connsiteY4" fmla="*/ 3264387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25989843 w 26879142"/>
                <a:gd name="connsiteY4" fmla="*/ 3195730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25989843 w 26879142"/>
                <a:gd name="connsiteY4" fmla="*/ 3195730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83264"/>
                <a:gd name="connsiteY0" fmla="*/ 3231165 h 4038697"/>
                <a:gd name="connsiteX1" fmla="*/ 0 w 26883264"/>
                <a:gd name="connsiteY1" fmla="*/ 0 h 4038697"/>
                <a:gd name="connsiteX2" fmla="*/ 26883213 w 26883264"/>
                <a:gd name="connsiteY2" fmla="*/ 797512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6 w 26875648"/>
                <a:gd name="connsiteY0" fmla="*/ 2733417 h 3540949"/>
                <a:gd name="connsiteX1" fmla="*/ 889350 w 26875648"/>
                <a:gd name="connsiteY1" fmla="*/ 0 h 3540949"/>
                <a:gd name="connsiteX2" fmla="*/ 26875597 w 26875648"/>
                <a:gd name="connsiteY2" fmla="*/ 288323 h 3540949"/>
                <a:gd name="connsiteX3" fmla="*/ 26871492 w 26875648"/>
                <a:gd name="connsiteY3" fmla="*/ 1649339 h 3540949"/>
                <a:gd name="connsiteX4" fmla="*/ 25496808 w 26875648"/>
                <a:gd name="connsiteY4" fmla="*/ 2692262 h 3540949"/>
                <a:gd name="connsiteX5" fmla="*/ 3208085 w 26875648"/>
                <a:gd name="connsiteY5" fmla="*/ 2742471 h 3540949"/>
                <a:gd name="connsiteX6" fmla="*/ 2064883 w 26875648"/>
                <a:gd name="connsiteY6" fmla="*/ 3540949 h 3540949"/>
                <a:gd name="connsiteX7" fmla="*/ 890529 w 26875648"/>
                <a:gd name="connsiteY7" fmla="*/ 2742471 h 3540949"/>
                <a:gd name="connsiteX8" fmla="*/ 6 w 26875648"/>
                <a:gd name="connsiteY8" fmla="*/ 2733417 h 3540949"/>
                <a:gd name="connsiteX0" fmla="*/ 6 w 26875648"/>
                <a:gd name="connsiteY0" fmla="*/ 2445094 h 3252626"/>
                <a:gd name="connsiteX1" fmla="*/ 894628 w 26875648"/>
                <a:gd name="connsiteY1" fmla="*/ 49230 h 3252626"/>
                <a:gd name="connsiteX2" fmla="*/ 26875597 w 26875648"/>
                <a:gd name="connsiteY2" fmla="*/ 0 h 3252626"/>
                <a:gd name="connsiteX3" fmla="*/ 26871492 w 26875648"/>
                <a:gd name="connsiteY3" fmla="*/ 1361016 h 3252626"/>
                <a:gd name="connsiteX4" fmla="*/ 25496808 w 26875648"/>
                <a:gd name="connsiteY4" fmla="*/ 2403939 h 3252626"/>
                <a:gd name="connsiteX5" fmla="*/ 3208085 w 26875648"/>
                <a:gd name="connsiteY5" fmla="*/ 2454148 h 3252626"/>
                <a:gd name="connsiteX6" fmla="*/ 2064883 w 26875648"/>
                <a:gd name="connsiteY6" fmla="*/ 3252626 h 3252626"/>
                <a:gd name="connsiteX7" fmla="*/ 890529 w 26875648"/>
                <a:gd name="connsiteY7" fmla="*/ 2454148 h 3252626"/>
                <a:gd name="connsiteX8" fmla="*/ 6 w 26875648"/>
                <a:gd name="connsiteY8" fmla="*/ 2445094 h 3252626"/>
                <a:gd name="connsiteX0" fmla="*/ 6 w 26875648"/>
                <a:gd name="connsiteY0" fmla="*/ 2447355 h 3254887"/>
                <a:gd name="connsiteX1" fmla="*/ 968498 w 26875648"/>
                <a:gd name="connsiteY1" fmla="*/ 0 h 3254887"/>
                <a:gd name="connsiteX2" fmla="*/ 26875597 w 26875648"/>
                <a:gd name="connsiteY2" fmla="*/ 2261 h 3254887"/>
                <a:gd name="connsiteX3" fmla="*/ 26871492 w 26875648"/>
                <a:gd name="connsiteY3" fmla="*/ 1363277 h 3254887"/>
                <a:gd name="connsiteX4" fmla="*/ 25496808 w 26875648"/>
                <a:gd name="connsiteY4" fmla="*/ 2406200 h 3254887"/>
                <a:gd name="connsiteX5" fmla="*/ 3208085 w 26875648"/>
                <a:gd name="connsiteY5" fmla="*/ 2456409 h 3254887"/>
                <a:gd name="connsiteX6" fmla="*/ 2064883 w 26875648"/>
                <a:gd name="connsiteY6" fmla="*/ 3254887 h 3254887"/>
                <a:gd name="connsiteX7" fmla="*/ 890529 w 26875648"/>
                <a:gd name="connsiteY7" fmla="*/ 2456409 h 3254887"/>
                <a:gd name="connsiteX8" fmla="*/ 6 w 26875648"/>
                <a:gd name="connsiteY8" fmla="*/ 2447355 h 3254887"/>
                <a:gd name="connsiteX0" fmla="*/ 6 w 26875648"/>
                <a:gd name="connsiteY0" fmla="*/ 2447355 h 3254887"/>
                <a:gd name="connsiteX1" fmla="*/ 968498 w 26875648"/>
                <a:gd name="connsiteY1" fmla="*/ 0 h 3254887"/>
                <a:gd name="connsiteX2" fmla="*/ 26875597 w 26875648"/>
                <a:gd name="connsiteY2" fmla="*/ 2261 h 3254887"/>
                <a:gd name="connsiteX3" fmla="*/ 26871492 w 26875648"/>
                <a:gd name="connsiteY3" fmla="*/ 1363277 h 3254887"/>
                <a:gd name="connsiteX4" fmla="*/ 25496808 w 26875648"/>
                <a:gd name="connsiteY4" fmla="*/ 2406200 h 3254887"/>
                <a:gd name="connsiteX5" fmla="*/ 3208085 w 26875648"/>
                <a:gd name="connsiteY5" fmla="*/ 2456409 h 3254887"/>
                <a:gd name="connsiteX6" fmla="*/ 2064883 w 26875648"/>
                <a:gd name="connsiteY6" fmla="*/ 3254887 h 3254887"/>
                <a:gd name="connsiteX7" fmla="*/ 890529 w 26875648"/>
                <a:gd name="connsiteY7" fmla="*/ 2456411 h 3254887"/>
                <a:gd name="connsiteX8" fmla="*/ 6 w 26875648"/>
                <a:gd name="connsiteY8" fmla="*/ 2447355 h 3254887"/>
                <a:gd name="connsiteX0" fmla="*/ 0 w 25985119"/>
                <a:gd name="connsiteY0" fmla="*/ 2456411 h 3254887"/>
                <a:gd name="connsiteX1" fmla="*/ 77969 w 25985119"/>
                <a:gd name="connsiteY1" fmla="*/ 0 h 3254887"/>
                <a:gd name="connsiteX2" fmla="*/ 25985068 w 25985119"/>
                <a:gd name="connsiteY2" fmla="*/ 2261 h 3254887"/>
                <a:gd name="connsiteX3" fmla="*/ 25980963 w 25985119"/>
                <a:gd name="connsiteY3" fmla="*/ 1363277 h 3254887"/>
                <a:gd name="connsiteX4" fmla="*/ 24606279 w 25985119"/>
                <a:gd name="connsiteY4" fmla="*/ 2406200 h 3254887"/>
                <a:gd name="connsiteX5" fmla="*/ 2317556 w 25985119"/>
                <a:gd name="connsiteY5" fmla="*/ 2456409 h 3254887"/>
                <a:gd name="connsiteX6" fmla="*/ 1174354 w 25985119"/>
                <a:gd name="connsiteY6" fmla="*/ 3254887 h 3254887"/>
                <a:gd name="connsiteX7" fmla="*/ 0 w 25985119"/>
                <a:gd name="connsiteY7" fmla="*/ 2456411 h 3254887"/>
                <a:gd name="connsiteX0" fmla="*/ 17005 w 25907150"/>
                <a:gd name="connsiteY0" fmla="*/ 2427806 h 3254887"/>
                <a:gd name="connsiteX1" fmla="*/ 0 w 25907150"/>
                <a:gd name="connsiteY1" fmla="*/ 0 h 3254887"/>
                <a:gd name="connsiteX2" fmla="*/ 25907099 w 25907150"/>
                <a:gd name="connsiteY2" fmla="*/ 2261 h 3254887"/>
                <a:gd name="connsiteX3" fmla="*/ 25902994 w 25907150"/>
                <a:gd name="connsiteY3" fmla="*/ 1363277 h 3254887"/>
                <a:gd name="connsiteX4" fmla="*/ 24528310 w 25907150"/>
                <a:gd name="connsiteY4" fmla="*/ 2406200 h 3254887"/>
                <a:gd name="connsiteX5" fmla="*/ 2239587 w 25907150"/>
                <a:gd name="connsiteY5" fmla="*/ 2456409 h 3254887"/>
                <a:gd name="connsiteX6" fmla="*/ 1096385 w 25907150"/>
                <a:gd name="connsiteY6" fmla="*/ 3254887 h 3254887"/>
                <a:gd name="connsiteX7" fmla="*/ 17005 w 25907150"/>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09 h 3254887"/>
                <a:gd name="connsiteX6" fmla="*/ 1100487 w 25911252"/>
                <a:gd name="connsiteY6" fmla="*/ 3254887 h 3254887"/>
                <a:gd name="connsiteX7" fmla="*/ 0 w 25911252"/>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11 h 3254887"/>
                <a:gd name="connsiteX6" fmla="*/ 1100487 w 25911252"/>
                <a:gd name="connsiteY6" fmla="*/ 3254887 h 3254887"/>
                <a:gd name="connsiteX7" fmla="*/ 0 w 25911252"/>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11 h 3254887"/>
                <a:gd name="connsiteX6" fmla="*/ 1100487 w 25911252"/>
                <a:gd name="connsiteY6" fmla="*/ 3254887 h 3254887"/>
                <a:gd name="connsiteX7" fmla="*/ 0 w 25911252"/>
                <a:gd name="connsiteY7" fmla="*/ 2427806 h 3254887"/>
                <a:gd name="connsiteX0" fmla="*/ 0 w 25915879"/>
                <a:gd name="connsiteY0" fmla="*/ 2447870 h 3254887"/>
                <a:gd name="connsiteX1" fmla="*/ 8729 w 25915879"/>
                <a:gd name="connsiteY1" fmla="*/ 0 h 3254887"/>
                <a:gd name="connsiteX2" fmla="*/ 25915828 w 25915879"/>
                <a:gd name="connsiteY2" fmla="*/ 2261 h 3254887"/>
                <a:gd name="connsiteX3" fmla="*/ 25911723 w 25915879"/>
                <a:gd name="connsiteY3" fmla="*/ 1363277 h 3254887"/>
                <a:gd name="connsiteX4" fmla="*/ 24537039 w 25915879"/>
                <a:gd name="connsiteY4" fmla="*/ 2406200 h 3254887"/>
                <a:gd name="connsiteX5" fmla="*/ 2248316 w 25915879"/>
                <a:gd name="connsiteY5" fmla="*/ 2456411 h 3254887"/>
                <a:gd name="connsiteX6" fmla="*/ 1105114 w 25915879"/>
                <a:gd name="connsiteY6" fmla="*/ 3254887 h 3254887"/>
                <a:gd name="connsiteX7" fmla="*/ 0 w 25915879"/>
                <a:gd name="connsiteY7" fmla="*/ 2447870 h 3254887"/>
                <a:gd name="connsiteX0" fmla="*/ 0 w 25915879"/>
                <a:gd name="connsiteY0" fmla="*/ 2447870 h 3254887"/>
                <a:gd name="connsiteX1" fmla="*/ 8729 w 25915879"/>
                <a:gd name="connsiteY1" fmla="*/ 0 h 3254887"/>
                <a:gd name="connsiteX2" fmla="*/ 25915828 w 25915879"/>
                <a:gd name="connsiteY2" fmla="*/ 2261 h 3254887"/>
                <a:gd name="connsiteX3" fmla="*/ 25911723 w 25915879"/>
                <a:gd name="connsiteY3" fmla="*/ 1363277 h 3254887"/>
                <a:gd name="connsiteX4" fmla="*/ 24537039 w 25915879"/>
                <a:gd name="connsiteY4" fmla="*/ 2406200 h 3254887"/>
                <a:gd name="connsiteX5" fmla="*/ 2248316 w 25915879"/>
                <a:gd name="connsiteY5" fmla="*/ 2456411 h 3254887"/>
                <a:gd name="connsiteX6" fmla="*/ 1105114 w 25915879"/>
                <a:gd name="connsiteY6" fmla="*/ 3254887 h 3254887"/>
                <a:gd name="connsiteX7" fmla="*/ 0 w 25915879"/>
                <a:gd name="connsiteY7" fmla="*/ 2447870 h 3254887"/>
                <a:gd name="connsiteX0" fmla="*/ 0 w 25915879"/>
                <a:gd name="connsiteY0" fmla="*/ 2447870 h 3169172"/>
                <a:gd name="connsiteX1" fmla="*/ 8729 w 25915879"/>
                <a:gd name="connsiteY1" fmla="*/ 0 h 3169172"/>
                <a:gd name="connsiteX2" fmla="*/ 25915828 w 25915879"/>
                <a:gd name="connsiteY2" fmla="*/ 2261 h 3169172"/>
                <a:gd name="connsiteX3" fmla="*/ 25911723 w 25915879"/>
                <a:gd name="connsiteY3" fmla="*/ 1363277 h 3169172"/>
                <a:gd name="connsiteX4" fmla="*/ 24537039 w 25915879"/>
                <a:gd name="connsiteY4" fmla="*/ 2406200 h 3169172"/>
                <a:gd name="connsiteX5" fmla="*/ 2248316 w 25915879"/>
                <a:gd name="connsiteY5" fmla="*/ 2456411 h 3169172"/>
                <a:gd name="connsiteX6" fmla="*/ 1105113 w 25915879"/>
                <a:gd name="connsiteY6" fmla="*/ 3169172 h 3169172"/>
                <a:gd name="connsiteX7" fmla="*/ 0 w 25915879"/>
                <a:gd name="connsiteY7" fmla="*/ 2447870 h 3169172"/>
                <a:gd name="connsiteX0" fmla="*/ 0 w 25915879"/>
                <a:gd name="connsiteY0" fmla="*/ 2447870 h 3169172"/>
                <a:gd name="connsiteX1" fmla="*/ 8729 w 25915879"/>
                <a:gd name="connsiteY1" fmla="*/ 0 h 3169172"/>
                <a:gd name="connsiteX2" fmla="*/ 25915828 w 25915879"/>
                <a:gd name="connsiteY2" fmla="*/ 2261 h 3169172"/>
                <a:gd name="connsiteX3" fmla="*/ 25911723 w 25915879"/>
                <a:gd name="connsiteY3" fmla="*/ 1363277 h 3169172"/>
                <a:gd name="connsiteX4" fmla="*/ 24537039 w 25915879"/>
                <a:gd name="connsiteY4" fmla="*/ 2406200 h 3169172"/>
                <a:gd name="connsiteX5" fmla="*/ 2248316 w 25915879"/>
                <a:gd name="connsiteY5" fmla="*/ 2456411 h 3169172"/>
                <a:gd name="connsiteX6" fmla="*/ 1137451 w 25915879"/>
                <a:gd name="connsiteY6" fmla="*/ 3169172 h 3169172"/>
                <a:gd name="connsiteX7" fmla="*/ 0 w 25915879"/>
                <a:gd name="connsiteY7" fmla="*/ 2447870 h 3169172"/>
                <a:gd name="connsiteX0" fmla="*/ 0 w 25915879"/>
                <a:gd name="connsiteY0" fmla="*/ 2447870 h 3021118"/>
                <a:gd name="connsiteX1" fmla="*/ 8729 w 25915879"/>
                <a:gd name="connsiteY1" fmla="*/ 0 h 3021118"/>
                <a:gd name="connsiteX2" fmla="*/ 25915828 w 25915879"/>
                <a:gd name="connsiteY2" fmla="*/ 2261 h 3021118"/>
                <a:gd name="connsiteX3" fmla="*/ 25911723 w 25915879"/>
                <a:gd name="connsiteY3" fmla="*/ 1363277 h 3021118"/>
                <a:gd name="connsiteX4" fmla="*/ 24537039 w 25915879"/>
                <a:gd name="connsiteY4" fmla="*/ 2406200 h 3021118"/>
                <a:gd name="connsiteX5" fmla="*/ 2248316 w 25915879"/>
                <a:gd name="connsiteY5" fmla="*/ 2456411 h 3021118"/>
                <a:gd name="connsiteX6" fmla="*/ 1133859 w 25915879"/>
                <a:gd name="connsiteY6" fmla="*/ 3021118 h 3021118"/>
                <a:gd name="connsiteX7" fmla="*/ 0 w 25915879"/>
                <a:gd name="connsiteY7" fmla="*/ 2447870 h 3021118"/>
                <a:gd name="connsiteX0" fmla="*/ 0 w 25915879"/>
                <a:gd name="connsiteY0" fmla="*/ 2447870 h 3138002"/>
                <a:gd name="connsiteX1" fmla="*/ 8729 w 25915879"/>
                <a:gd name="connsiteY1" fmla="*/ 0 h 3138002"/>
                <a:gd name="connsiteX2" fmla="*/ 25915828 w 25915879"/>
                <a:gd name="connsiteY2" fmla="*/ 2261 h 3138002"/>
                <a:gd name="connsiteX3" fmla="*/ 25911723 w 25915879"/>
                <a:gd name="connsiteY3" fmla="*/ 1363277 h 3138002"/>
                <a:gd name="connsiteX4" fmla="*/ 24537039 w 25915879"/>
                <a:gd name="connsiteY4" fmla="*/ 2406200 h 3138002"/>
                <a:gd name="connsiteX5" fmla="*/ 2248316 w 25915879"/>
                <a:gd name="connsiteY5" fmla="*/ 2456411 h 3138002"/>
                <a:gd name="connsiteX6" fmla="*/ 1141043 w 25915879"/>
                <a:gd name="connsiteY6" fmla="*/ 3138002 h 3138002"/>
                <a:gd name="connsiteX7" fmla="*/ 0 w 25915879"/>
                <a:gd name="connsiteY7" fmla="*/ 2447870 h 3138002"/>
                <a:gd name="connsiteX0" fmla="*/ 0 w 25915879"/>
                <a:gd name="connsiteY0" fmla="*/ 2447870 h 3138002"/>
                <a:gd name="connsiteX1" fmla="*/ 8729 w 25915879"/>
                <a:gd name="connsiteY1" fmla="*/ 0 h 3138002"/>
                <a:gd name="connsiteX2" fmla="*/ 25915828 w 25915879"/>
                <a:gd name="connsiteY2" fmla="*/ 2261 h 3138002"/>
                <a:gd name="connsiteX3" fmla="*/ 25911723 w 25915879"/>
                <a:gd name="connsiteY3" fmla="*/ 1363277 h 3138002"/>
                <a:gd name="connsiteX4" fmla="*/ 24537039 w 25915879"/>
                <a:gd name="connsiteY4" fmla="*/ 2406200 h 3138002"/>
                <a:gd name="connsiteX5" fmla="*/ 2248316 w 25915879"/>
                <a:gd name="connsiteY5" fmla="*/ 2456411 h 3138002"/>
                <a:gd name="connsiteX6" fmla="*/ 1141043 w 25915879"/>
                <a:gd name="connsiteY6" fmla="*/ 3138002 h 3138002"/>
                <a:gd name="connsiteX7" fmla="*/ 0 w 25915879"/>
                <a:gd name="connsiteY7" fmla="*/ 2447870 h 3138002"/>
                <a:gd name="connsiteX0" fmla="*/ 0 w 25915879"/>
                <a:gd name="connsiteY0" fmla="*/ 2447870 h 3149688"/>
                <a:gd name="connsiteX1" fmla="*/ 8729 w 25915879"/>
                <a:gd name="connsiteY1" fmla="*/ 0 h 3149688"/>
                <a:gd name="connsiteX2" fmla="*/ 25915828 w 25915879"/>
                <a:gd name="connsiteY2" fmla="*/ 2261 h 3149688"/>
                <a:gd name="connsiteX3" fmla="*/ 25911723 w 25915879"/>
                <a:gd name="connsiteY3" fmla="*/ 1363277 h 3149688"/>
                <a:gd name="connsiteX4" fmla="*/ 24537039 w 25915879"/>
                <a:gd name="connsiteY4" fmla="*/ 2406200 h 3149688"/>
                <a:gd name="connsiteX5" fmla="*/ 2248316 w 25915879"/>
                <a:gd name="connsiteY5" fmla="*/ 2456411 h 3149688"/>
                <a:gd name="connsiteX6" fmla="*/ 1137451 w 25915879"/>
                <a:gd name="connsiteY6" fmla="*/ 3149688 h 3149688"/>
                <a:gd name="connsiteX7" fmla="*/ 0 w 25915879"/>
                <a:gd name="connsiteY7" fmla="*/ 2447870 h 3149688"/>
                <a:gd name="connsiteX0" fmla="*/ 0 w 25915879"/>
                <a:gd name="connsiteY0" fmla="*/ 2447870 h 3161374"/>
                <a:gd name="connsiteX1" fmla="*/ 8729 w 25915879"/>
                <a:gd name="connsiteY1" fmla="*/ 0 h 3161374"/>
                <a:gd name="connsiteX2" fmla="*/ 25915828 w 25915879"/>
                <a:gd name="connsiteY2" fmla="*/ 2261 h 3161374"/>
                <a:gd name="connsiteX3" fmla="*/ 25911723 w 25915879"/>
                <a:gd name="connsiteY3" fmla="*/ 1363277 h 3161374"/>
                <a:gd name="connsiteX4" fmla="*/ 24537039 w 25915879"/>
                <a:gd name="connsiteY4" fmla="*/ 2406200 h 3161374"/>
                <a:gd name="connsiteX5" fmla="*/ 2248316 w 25915879"/>
                <a:gd name="connsiteY5" fmla="*/ 2456411 h 3161374"/>
                <a:gd name="connsiteX6" fmla="*/ 1137451 w 25915879"/>
                <a:gd name="connsiteY6" fmla="*/ 3161374 h 3161374"/>
                <a:gd name="connsiteX7" fmla="*/ 0 w 25915879"/>
                <a:gd name="connsiteY7" fmla="*/ 2447870 h 3161374"/>
                <a:gd name="connsiteX0" fmla="*/ 8729 w 25915879"/>
                <a:gd name="connsiteY0" fmla="*/ 0 h 3161374"/>
                <a:gd name="connsiteX1" fmla="*/ 25915828 w 25915879"/>
                <a:gd name="connsiteY1" fmla="*/ 2261 h 3161374"/>
                <a:gd name="connsiteX2" fmla="*/ 25911723 w 25915879"/>
                <a:gd name="connsiteY2" fmla="*/ 1363277 h 3161374"/>
                <a:gd name="connsiteX3" fmla="*/ 24537039 w 25915879"/>
                <a:gd name="connsiteY3" fmla="*/ 2406200 h 3161374"/>
                <a:gd name="connsiteX4" fmla="*/ 2248316 w 25915879"/>
                <a:gd name="connsiteY4" fmla="*/ 2456411 h 3161374"/>
                <a:gd name="connsiteX5" fmla="*/ 1137451 w 25915879"/>
                <a:gd name="connsiteY5" fmla="*/ 3161374 h 3161374"/>
                <a:gd name="connsiteX6" fmla="*/ 0 w 25915879"/>
                <a:gd name="connsiteY6" fmla="*/ 2447870 h 3161374"/>
                <a:gd name="connsiteX7" fmla="*/ 267794 w 25915879"/>
                <a:gd name="connsiteY7" fmla="*/ 280913 h 3161374"/>
                <a:gd name="connsiteX0" fmla="*/ 8729 w 25915879"/>
                <a:gd name="connsiteY0" fmla="*/ 0 h 3161374"/>
                <a:gd name="connsiteX1" fmla="*/ 25915828 w 25915879"/>
                <a:gd name="connsiteY1" fmla="*/ 2261 h 3161374"/>
                <a:gd name="connsiteX2" fmla="*/ 25911723 w 25915879"/>
                <a:gd name="connsiteY2" fmla="*/ 1363277 h 3161374"/>
                <a:gd name="connsiteX3" fmla="*/ 24537039 w 25915879"/>
                <a:gd name="connsiteY3" fmla="*/ 2406200 h 3161374"/>
                <a:gd name="connsiteX4" fmla="*/ 2248316 w 25915879"/>
                <a:gd name="connsiteY4" fmla="*/ 2456411 h 3161374"/>
                <a:gd name="connsiteX5" fmla="*/ 1137451 w 25915879"/>
                <a:gd name="connsiteY5" fmla="*/ 3161374 h 3161374"/>
                <a:gd name="connsiteX6" fmla="*/ 0 w 25915879"/>
                <a:gd name="connsiteY6" fmla="*/ 2447870 h 3161374"/>
                <a:gd name="connsiteX0" fmla="*/ 25915828 w 25915879"/>
                <a:gd name="connsiteY0" fmla="*/ 0 h 3159113"/>
                <a:gd name="connsiteX1" fmla="*/ 25911723 w 25915879"/>
                <a:gd name="connsiteY1" fmla="*/ 1361016 h 3159113"/>
                <a:gd name="connsiteX2" fmla="*/ 24537039 w 25915879"/>
                <a:gd name="connsiteY2" fmla="*/ 2403939 h 3159113"/>
                <a:gd name="connsiteX3" fmla="*/ 2248316 w 25915879"/>
                <a:gd name="connsiteY3" fmla="*/ 2454150 h 3159113"/>
                <a:gd name="connsiteX4" fmla="*/ 1137451 w 25915879"/>
                <a:gd name="connsiteY4" fmla="*/ 3159113 h 3159113"/>
                <a:gd name="connsiteX5" fmla="*/ 0 w 25915879"/>
                <a:gd name="connsiteY5" fmla="*/ 2445609 h 3159113"/>
                <a:gd name="connsiteX0" fmla="*/ 25911723 w 25911731"/>
                <a:gd name="connsiteY0" fmla="*/ 1 h 1798098"/>
                <a:gd name="connsiteX1" fmla="*/ 24537039 w 25911731"/>
                <a:gd name="connsiteY1" fmla="*/ 1042924 h 1798098"/>
                <a:gd name="connsiteX2" fmla="*/ 2248316 w 25911731"/>
                <a:gd name="connsiteY2" fmla="*/ 1093135 h 1798098"/>
                <a:gd name="connsiteX3" fmla="*/ 1137451 w 25911731"/>
                <a:gd name="connsiteY3" fmla="*/ 1798098 h 1798098"/>
                <a:gd name="connsiteX4" fmla="*/ 0 w 25911731"/>
                <a:gd name="connsiteY4" fmla="*/ 1084594 h 179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1731" h="1798098">
                  <a:moveTo>
                    <a:pt x="25911723" y="1"/>
                  </a:moveTo>
                  <a:cubicBezTo>
                    <a:pt x="25915358" y="1117162"/>
                    <a:pt x="24907606" y="1042700"/>
                    <a:pt x="24537039" y="1042924"/>
                  </a:cubicBezTo>
                  <a:lnTo>
                    <a:pt x="2248316" y="1093135"/>
                  </a:lnTo>
                  <a:cubicBezTo>
                    <a:pt x="1655273" y="1103392"/>
                    <a:pt x="1329060" y="1335276"/>
                    <a:pt x="1137451" y="1798098"/>
                  </a:cubicBezTo>
                  <a:cubicBezTo>
                    <a:pt x="849876" y="1144972"/>
                    <a:pt x="329529" y="1093749"/>
                    <a:pt x="0" y="1084594"/>
                  </a:cubicBezTo>
                </a:path>
              </a:pathLst>
            </a:custGeom>
            <a:noFill/>
            <a:ln w="28575" cmpd="sng" algn="ctr">
              <a:solidFill>
                <a:schemeClr val="accent2"/>
              </a:solidFill>
              <a:miter lim="800000"/>
              <a:headEnd/>
              <a:tailEnd/>
            </a:ln>
            <a:effectLst/>
          </p:spPr>
          <p:txBody>
            <a:bodyPr wrap="square" lIns="33059" tIns="42974" rIns="33059" bIns="42974" rtlCol="0" anchor="ctr"/>
            <a:lstStyle/>
            <a:p>
              <a:pPr algn="ctr" fontAlgn="auto">
                <a:spcBef>
                  <a:spcPts val="0"/>
                </a:spcBef>
                <a:spcAft>
                  <a:spcPts val="0"/>
                </a:spcAft>
              </a:pPr>
              <a:endParaRPr lang="en-US" sz="1333" dirty="0">
                <a:solidFill>
                  <a:schemeClr val="bg1"/>
                </a:solidFill>
                <a:latin typeface="Arial" pitchFamily="34" charset="0"/>
                <a:cs typeface="Arial" pitchFamily="34" charset="0"/>
              </a:endParaRPr>
            </a:p>
          </p:txBody>
        </p:sp>
      </p:grpSp>
      <p:graphicFrame>
        <p:nvGraphicFramePr>
          <p:cNvPr id="3" name="Object 2" hidden="1"/>
          <p:cNvGraphicFramePr>
            <a:graphicFrameLocks noChangeAspect="1"/>
          </p:cNvGraphicFramePr>
          <p:nvPr>
            <p:custDataLst>
              <p:tags r:id="rId1"/>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solidFill>
                  <a:schemeClr val="tx1"/>
                </a:solidFill>
              </a:defRPr>
            </a:lvl1pPr>
          </a:lstStyle>
          <a:p>
            <a:pPr lvl="0"/>
            <a:r>
              <a:rPr lang="en-US" noProof="0" dirty="0"/>
              <a:t>Click to edit Master title style</a:t>
            </a:r>
          </a:p>
        </p:txBody>
      </p:sp>
    </p:spTree>
    <p:extLst>
      <p:ext uri="{BB962C8B-B14F-4D97-AF65-F5344CB8AC3E}">
        <p14:creationId xmlns:p14="http://schemas.microsoft.com/office/powerpoint/2010/main" val="22229765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308634"/>
            <a:ext cx="10972800" cy="1166815"/>
          </a:xfrm>
        </p:spPr>
        <p:txBody>
          <a:bodyPr/>
          <a:lstStyle>
            <a:lvl1pPr>
              <a:defRPr>
                <a:solidFill>
                  <a:schemeClr val="bg1"/>
                </a:solidFill>
              </a:defRPr>
            </a:lvl1pPr>
          </a:lstStyle>
          <a:p>
            <a:r>
              <a:rPr lang="en-US" dirty="0"/>
              <a:t>Title - Title Case, Calibri 28 </a:t>
            </a:r>
            <a:r>
              <a:rPr lang="en-US" dirty="0" err="1"/>
              <a:t>Pt</a:t>
            </a:r>
            <a:br>
              <a:rPr lang="en-US" dirty="0"/>
            </a:br>
            <a:r>
              <a:rPr lang="en-US" dirty="0"/>
              <a:t>2 Line Max</a:t>
            </a:r>
          </a:p>
        </p:txBody>
      </p:sp>
      <p:sp>
        <p:nvSpPr>
          <p:cNvPr id="5" name="Text Placeholder 8"/>
          <p:cNvSpPr>
            <a:spLocks noGrp="1"/>
          </p:cNvSpPr>
          <p:nvPr>
            <p:ph type="body" sz="quarter" idx="12"/>
          </p:nvPr>
        </p:nvSpPr>
        <p:spPr>
          <a:xfrm>
            <a:off x="613581" y="5930900"/>
            <a:ext cx="10964841" cy="273051"/>
          </a:xfrm>
        </p:spPr>
        <p:txBody>
          <a:bodyPr/>
          <a:lstStyle>
            <a:lvl1pPr marL="0" indent="0">
              <a:lnSpc>
                <a:spcPct val="100000"/>
              </a:lnSpc>
              <a:spcBef>
                <a:spcPts val="0"/>
              </a:spcBef>
              <a:spcAft>
                <a:spcPts val="0"/>
              </a:spcAft>
              <a:buNone/>
              <a:defRPr sz="1333">
                <a:solidFill>
                  <a:schemeClr val="bg1"/>
                </a:solidFill>
              </a:defRPr>
            </a:lvl1pPr>
            <a:lvl2pPr marL="524920" indent="0">
              <a:lnSpc>
                <a:spcPct val="100000"/>
              </a:lnSpc>
              <a:spcBef>
                <a:spcPts val="0"/>
              </a:spcBef>
              <a:spcAft>
                <a:spcPts val="0"/>
              </a:spcAft>
              <a:buNone/>
              <a:defRPr/>
            </a:lvl2pPr>
            <a:lvl3pPr marL="999042" indent="0">
              <a:lnSpc>
                <a:spcPct val="100000"/>
              </a:lnSpc>
              <a:spcBef>
                <a:spcPts val="0"/>
              </a:spcBef>
              <a:spcAft>
                <a:spcPts val="0"/>
              </a:spcAft>
              <a:buNone/>
              <a:defRPr/>
            </a:lvl3pPr>
            <a:lvl4pPr marL="1456230" indent="0">
              <a:lnSpc>
                <a:spcPct val="100000"/>
              </a:lnSpc>
              <a:spcBef>
                <a:spcPts val="0"/>
              </a:spcBef>
              <a:spcAft>
                <a:spcPts val="0"/>
              </a:spcAft>
              <a:buNone/>
              <a:defRPr/>
            </a:lvl4pPr>
            <a:lvl5pPr marL="1828754" indent="0">
              <a:lnSpc>
                <a:spcPct val="100000"/>
              </a:lnSpc>
              <a:spcBef>
                <a:spcPts val="0"/>
              </a:spcBef>
              <a:spcAft>
                <a:spcPts val="0"/>
              </a:spcAft>
              <a:buNone/>
              <a:defRPr/>
            </a:lvl5pPr>
          </a:lstStyle>
          <a:p>
            <a:pPr lvl="0"/>
            <a:r>
              <a:rPr lang="en-US" dirty="0"/>
              <a:t>Click to edit Master text styles</a:t>
            </a:r>
          </a:p>
        </p:txBody>
      </p:sp>
    </p:spTree>
    <p:extLst>
      <p:ext uri="{BB962C8B-B14F-4D97-AF65-F5344CB8AC3E}">
        <p14:creationId xmlns:p14="http://schemas.microsoft.com/office/powerpoint/2010/main" val="71955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baseline="0">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val="8121192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308634"/>
            <a:ext cx="10972800" cy="609334"/>
          </a:xfrm>
        </p:spPr>
        <p:txBody>
          <a:bodyPr/>
          <a:lstStyle/>
          <a:p>
            <a:r>
              <a:rPr lang="en-US"/>
              <a:t>Click to edit Master title style</a:t>
            </a:r>
          </a:p>
        </p:txBody>
      </p:sp>
    </p:spTree>
    <p:extLst>
      <p:ext uri="{BB962C8B-B14F-4D97-AF65-F5344CB8AC3E}">
        <p14:creationId xmlns:p14="http://schemas.microsoft.com/office/powerpoint/2010/main" val="3080029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8864051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Tree>
    <p:extLst>
      <p:ext uri="{BB962C8B-B14F-4D97-AF65-F5344CB8AC3E}">
        <p14:creationId xmlns:p14="http://schemas.microsoft.com/office/powerpoint/2010/main" val="9425633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White">
    <p:bg>
      <p:bgPr>
        <a:solidFill>
          <a:schemeClr val="tx1"/>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609863" y="1678931"/>
            <a:ext cx="10889948" cy="2117503"/>
          </a:xfrm>
          <a:prstGeom prst="rect">
            <a:avLst/>
          </a:prstGeom>
        </p:spPr>
        <p:txBody>
          <a:bodyPr wrap="square" anchor="b" anchorCtr="0">
            <a:spAutoFit/>
          </a:bodyPr>
          <a:lstStyle>
            <a:lvl1pPr algn="l">
              <a:defRPr sz="7200">
                <a:solidFill>
                  <a:schemeClr val="bg1"/>
                </a:solidFill>
                <a:latin typeface="+mj-lt"/>
              </a:defRPr>
            </a:lvl1pPr>
          </a:lstStyle>
          <a:p>
            <a:r>
              <a:rPr lang="en-US" dirty="0"/>
              <a:t>Always In Title Case; </a:t>
            </a:r>
            <a:br>
              <a:rPr lang="en-US" dirty="0"/>
            </a:br>
            <a:r>
              <a:rPr lang="en-US" dirty="0"/>
              <a:t>2 Lines Preferred</a:t>
            </a:r>
          </a:p>
        </p:txBody>
      </p:sp>
      <p:sp>
        <p:nvSpPr>
          <p:cNvPr id="9" name="Text Placeholder 12"/>
          <p:cNvSpPr>
            <a:spLocks noGrp="1"/>
          </p:cNvSpPr>
          <p:nvPr>
            <p:ph type="body" sz="quarter" idx="11" hasCustomPrompt="1"/>
          </p:nvPr>
        </p:nvSpPr>
        <p:spPr bwMode="black">
          <a:xfrm>
            <a:off x="514864" y="4791849"/>
            <a:ext cx="8608155" cy="458331"/>
          </a:xfrm>
          <a:prstGeom prst="rect">
            <a:avLst/>
          </a:prstGeom>
        </p:spPr>
        <p:txBody>
          <a:bodyPr tIns="0">
            <a:spAutoFit/>
          </a:bodyPr>
          <a:lstStyle>
            <a:lvl1pPr marL="0" indent="0">
              <a:buNone/>
              <a:defRPr sz="1600" b="0">
                <a:solidFill>
                  <a:schemeClr val="bg1"/>
                </a:solidFill>
                <a:latin typeface="+mj-lt"/>
              </a:defRPr>
            </a:lvl1pPr>
          </a:lstStyle>
          <a:p>
            <a:pPr lvl="0"/>
            <a:r>
              <a:rPr lang="en-US" dirty="0"/>
              <a:t>Insert Date Here</a:t>
            </a:r>
            <a:endParaRPr lang="lt-LT" dirty="0"/>
          </a:p>
        </p:txBody>
      </p:sp>
      <p:sp>
        <p:nvSpPr>
          <p:cNvPr id="10" name="Text Placeholder 2"/>
          <p:cNvSpPr>
            <a:spLocks noGrp="1"/>
          </p:cNvSpPr>
          <p:nvPr>
            <p:ph type="body" idx="12" hasCustomPrompt="1"/>
          </p:nvPr>
        </p:nvSpPr>
        <p:spPr>
          <a:xfrm>
            <a:off x="536888" y="3759547"/>
            <a:ext cx="8607117" cy="723967"/>
          </a:xfrm>
        </p:spPr>
        <p:txBody>
          <a:bodyPr/>
          <a:lstStyle>
            <a:lvl1pPr marL="0" indent="0">
              <a:buNone/>
              <a:defRPr sz="1867" b="1">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363783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6" name="Object 1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27728340"/>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EDEDED"/>
        </a:solidFill>
        <a:effectLst/>
      </p:bgPr>
    </p:bg>
    <p:spTree>
      <p:nvGrpSpPr>
        <p:cNvPr id="1" name=""/>
        <p:cNvGrpSpPr/>
        <p:nvPr/>
      </p:nvGrpSpPr>
      <p:grpSpPr>
        <a:xfrm>
          <a:off x="0" y="0"/>
          <a:ext cx="0" cy="0"/>
          <a:chOff x="0" y="0"/>
          <a:chExt cx="0" cy="0"/>
        </a:xfrm>
      </p:grpSpPr>
      <p:grpSp>
        <p:nvGrpSpPr>
          <p:cNvPr id="14" name="Group 13"/>
          <p:cNvGrpSpPr/>
          <p:nvPr userDrawn="1"/>
        </p:nvGrpSpPr>
        <p:grpSpPr>
          <a:xfrm>
            <a:off x="5149757" y="2453"/>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339025" y="3798121"/>
            <a:ext cx="6582043" cy="1159934"/>
          </a:xfrm>
        </p:spPr>
        <p:txBody>
          <a:bodyPr lIns="0" tIns="0" rIns="0" bIns="0" anchor="b">
            <a:normAutofit/>
          </a:bodyPr>
          <a:lstStyle>
            <a:lvl1pPr marL="0" indent="0" algn="r">
              <a:lnSpc>
                <a:spcPct val="100000"/>
              </a:lnSpc>
              <a:buNone/>
              <a:defRPr sz="5446">
                <a:solidFill>
                  <a:schemeClr val="bg2">
                    <a:lumMod val="40000"/>
                    <a:lumOff val="60000"/>
                  </a:schemeClr>
                </a:solidFill>
                <a:latin typeface="Segoe UI" panose="020B0502040204020203" pitchFamily="34" charset="0"/>
                <a:ea typeface="Verdana" panose="020B0604030504040204" pitchFamily="34" charset="0"/>
                <a:cs typeface="Segoe UI" panose="020B0502040204020203" pitchFamily="34" charset="0"/>
              </a:defRPr>
            </a:lvl1pPr>
            <a:lvl2pPr>
              <a:defRPr sz="3063">
                <a:solidFill>
                  <a:schemeClr val="bg1"/>
                </a:solidFill>
              </a:defRPr>
            </a:lvl2pPr>
          </a:lstStyle>
          <a:p>
            <a:pPr lvl="0"/>
            <a:r>
              <a:rPr lang="en-US" dirty="0"/>
              <a:t>Click to insert title</a:t>
            </a:r>
            <a:endParaRPr lang="pt-PT" dirty="0"/>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827197" y="5111406"/>
            <a:ext cx="6093872" cy="1595120"/>
          </a:xfrm>
        </p:spPr>
        <p:txBody>
          <a:bodyPr lIns="0" tIns="0" rIns="0" bIns="0">
            <a:normAutofit/>
          </a:bodyPr>
          <a:lstStyle>
            <a:lvl1pPr marL="0" indent="0" algn="r">
              <a:lnSpc>
                <a:spcPct val="100000"/>
              </a:lnSpc>
              <a:buNone/>
              <a:defRPr sz="3063">
                <a:solidFill>
                  <a:schemeClr val="bg2">
                    <a:lumMod val="40000"/>
                    <a:lumOff val="60000"/>
                  </a:schemeClr>
                </a:solidFill>
                <a:latin typeface="Segoe UI" panose="020B0502040204020203" pitchFamily="34" charset="0"/>
                <a:ea typeface="Verdana" panose="020B0604030504040204" pitchFamily="34" charset="0"/>
                <a:cs typeface="Segoe UI" panose="020B0502040204020203" pitchFamily="34" charset="0"/>
              </a:defRPr>
            </a:lvl1pPr>
            <a:lvl2pPr>
              <a:defRPr sz="2042">
                <a:solidFill>
                  <a:schemeClr val="bg1"/>
                </a:solidFill>
              </a:defRPr>
            </a:lvl2pPr>
          </a:lstStyle>
          <a:p>
            <a:pPr lvl="0"/>
            <a:r>
              <a:rPr lang="en-US" dirty="0"/>
              <a:t>Click to insert presenter, location, and date</a:t>
            </a:r>
            <a:endParaRPr lang="pt-PT" dirty="0"/>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43986" y="539754"/>
            <a:ext cx="3087428" cy="688815"/>
          </a:xfrm>
          <a:prstGeom prst="rect">
            <a:avLst/>
          </a:prstGeom>
        </p:spPr>
      </p:pic>
      <p:graphicFrame>
        <p:nvGraphicFramePr>
          <p:cNvPr id="5" name="Object 4" hidden="1"/>
          <p:cNvGraphicFramePr>
            <a:graphicFrameLocks noChangeAspect="1"/>
          </p:cNvGraphicFramePr>
          <p:nvPr>
            <p:custDataLst>
              <p:tags r:id="rId1"/>
            </p:custDataLst>
          </p:nvPr>
        </p:nvGraphicFramePr>
        <p:xfrm>
          <a:off x="3" y="2"/>
          <a:ext cx="195384" cy="158751"/>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2"/>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860141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11971514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253353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15" name="Line 7">
            <a:extLst>
              <a:ext uri="{FF2B5EF4-FFF2-40B4-BE49-F238E27FC236}">
                <a16:creationId xmlns:a16="http://schemas.microsoft.com/office/drawing/2014/main" id="{E8849EFC-267B-43FA-8D9D-B335B1B2E38A}"/>
              </a:ext>
            </a:extLst>
          </p:cNvPr>
          <p:cNvSpPr>
            <a:spLocks noChangeShapeType="1"/>
          </p:cNvSpPr>
          <p:nvPr userDrawn="1"/>
        </p:nvSpPr>
        <p:spPr bwMode="gray">
          <a:xfrm>
            <a:off x="11588749" y="6450414"/>
            <a:ext cx="0" cy="319616"/>
          </a:xfrm>
          <a:prstGeom prst="line">
            <a:avLst/>
          </a:prstGeom>
          <a:noFill/>
          <a:ln w="9525">
            <a:solidFill>
              <a:srgbClr val="969696"/>
            </a:solidFill>
            <a:round/>
            <a:headEnd/>
            <a:tailEnd/>
          </a:ln>
          <a:effectLst/>
        </p:spPr>
        <p:txBody>
          <a:bodyPr wrap="none" anchor="ctr"/>
          <a:lstStyle/>
          <a:p>
            <a:endParaRPr lang="en-US" sz="2723" dirty="0">
              <a:solidFill>
                <a:schemeClr val="tx2"/>
              </a:solidFill>
              <a:latin typeface="+mj-lt"/>
            </a:endParaRPr>
          </a:p>
        </p:txBody>
      </p:sp>
      <p:sp>
        <p:nvSpPr>
          <p:cNvPr id="16" name="Text Box 8">
            <a:extLst>
              <a:ext uri="{FF2B5EF4-FFF2-40B4-BE49-F238E27FC236}">
                <a16:creationId xmlns:a16="http://schemas.microsoft.com/office/drawing/2014/main" id="{B265E917-F5F5-47E7-985D-25AA9CCFE342}"/>
              </a:ext>
            </a:extLst>
          </p:cNvPr>
          <p:cNvSpPr txBox="1">
            <a:spLocks noChangeArrowheads="1"/>
          </p:cNvSpPr>
          <p:nvPr userDrawn="1"/>
        </p:nvSpPr>
        <p:spPr bwMode="gray">
          <a:xfrm>
            <a:off x="11588754" y="6448296"/>
            <a:ext cx="510718"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mj-lt"/>
              </a:rPr>
              <a:pPr eaLnBrk="0" hangingPunct="0">
                <a:lnSpc>
                  <a:spcPct val="85000"/>
                </a:lnSpc>
              </a:pPr>
              <a:t>‹#›</a:t>
            </a:fld>
            <a:endParaRPr lang="en-US" sz="800" dirty="0">
              <a:solidFill>
                <a:srgbClr val="969696"/>
              </a:solidFill>
              <a:latin typeface="+mj-lt"/>
            </a:endParaRPr>
          </a:p>
        </p:txBody>
      </p:sp>
      <p:sp>
        <p:nvSpPr>
          <p:cNvPr id="17" name="Text Box 9">
            <a:extLst>
              <a:ext uri="{FF2B5EF4-FFF2-40B4-BE49-F238E27FC236}">
                <a16:creationId xmlns:a16="http://schemas.microsoft.com/office/drawing/2014/main" id="{8934A6B4-2902-4898-9B2D-15365FEC6F70}"/>
              </a:ext>
            </a:extLst>
          </p:cNvPr>
          <p:cNvSpPr txBox="1">
            <a:spLocks noChangeArrowheads="1"/>
          </p:cNvSpPr>
          <p:nvPr userDrawn="1"/>
        </p:nvSpPr>
        <p:spPr bwMode="gray">
          <a:xfrm>
            <a:off x="5475819" y="6508399"/>
            <a:ext cx="6068484" cy="203645"/>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51" dirty="0">
                <a:solidFill>
                  <a:schemeClr val="tx2"/>
                </a:solidFill>
                <a:latin typeface="+mj-lt"/>
              </a:rPr>
              <a:t>The information contained in this document is proprietary. Copyright © 2018 Capgemini. All rights reserved.</a:t>
            </a:r>
          </a:p>
        </p:txBody>
      </p:sp>
    </p:spTree>
    <p:extLst>
      <p:ext uri="{BB962C8B-B14F-4D97-AF65-F5344CB8AC3E}">
        <p14:creationId xmlns:p14="http://schemas.microsoft.com/office/powerpoint/2010/main" val="3650201538"/>
      </p:ext>
    </p:extLst>
  </p:cSld>
  <p:clrMapOvr>
    <a:masterClrMapping/>
  </p:clrMapOvr>
  <p:extLst>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_Title Slide 1">
    <p:bg>
      <p:bgPr>
        <a:solidFill>
          <a:srgbClr val="EDEDED"/>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 y="2"/>
          <a:ext cx="195384" cy="158751"/>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 y="2"/>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910130" y="2332817"/>
            <a:ext cx="5858540" cy="1159934"/>
          </a:xfrm>
        </p:spPr>
        <p:txBody>
          <a:bodyPr lIns="0" tIns="0" rIns="0" bIns="0" anchor="b">
            <a:normAutofit/>
          </a:bodyPr>
          <a:lstStyle>
            <a:lvl1pPr marL="0" indent="0" algn="r">
              <a:lnSpc>
                <a:spcPct val="100000"/>
              </a:lnSpc>
              <a:buNone/>
              <a:defRPr sz="4765">
                <a:solidFill>
                  <a:srgbClr val="2B0A3D"/>
                </a:solidFill>
                <a:latin typeface="Segoe UI" panose="020B0502040204020203" pitchFamily="34" charset="0"/>
                <a:ea typeface="Verdana" panose="020B0604030504040204" pitchFamily="34" charset="0"/>
                <a:cs typeface="Segoe UI" panose="020B0502040204020203" pitchFamily="34" charset="0"/>
              </a:defRPr>
            </a:lvl1pPr>
            <a:lvl2pPr>
              <a:defRPr sz="3063">
                <a:solidFill>
                  <a:schemeClr val="bg1"/>
                </a:solidFill>
              </a:defRPr>
            </a:lvl2pPr>
          </a:lstStyle>
          <a:p>
            <a:pPr lvl="0"/>
            <a:r>
              <a:rPr lang="en-US" dirty="0"/>
              <a:t>Click to insert title</a:t>
            </a:r>
            <a:endParaRPr lang="pt-PT" dirty="0"/>
          </a:p>
        </p:txBody>
      </p:sp>
      <p:sp>
        <p:nvSpPr>
          <p:cNvPr id="1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6797041" y="3646102"/>
            <a:ext cx="4971628" cy="1595120"/>
          </a:xfrm>
        </p:spPr>
        <p:txBody>
          <a:bodyPr lIns="0" tIns="0" rIns="0" bIns="0">
            <a:normAutofit/>
          </a:bodyPr>
          <a:lstStyle>
            <a:lvl1pPr marL="0" indent="0" algn="r">
              <a:lnSpc>
                <a:spcPct val="100000"/>
              </a:lnSpc>
              <a:buNone/>
              <a:defRPr sz="2723">
                <a:solidFill>
                  <a:schemeClr val="accent2"/>
                </a:solidFill>
                <a:latin typeface="Segoe UI" panose="020B0502040204020203" pitchFamily="34" charset="0"/>
                <a:ea typeface="Verdana" panose="020B0604030504040204" pitchFamily="34" charset="0"/>
                <a:cs typeface="Segoe UI" panose="020B0502040204020203" pitchFamily="34" charset="0"/>
              </a:defRPr>
            </a:lvl1pPr>
            <a:lvl2pPr>
              <a:defRPr sz="2042">
                <a:solidFill>
                  <a:schemeClr val="bg1"/>
                </a:solidFill>
              </a:defRPr>
            </a:lvl2pPr>
          </a:lstStyle>
          <a:p>
            <a:pPr lvl="0"/>
            <a:r>
              <a:rPr lang="en-US" dirty="0"/>
              <a:t>Click to insert presenter, location, and date</a:t>
            </a:r>
            <a:endParaRPr lang="pt-PT" dirty="0"/>
          </a:p>
        </p:txBody>
      </p:sp>
      <p:grpSp>
        <p:nvGrpSpPr>
          <p:cNvPr id="6" name="Group 5"/>
          <p:cNvGrpSpPr/>
          <p:nvPr userDrawn="1"/>
        </p:nvGrpSpPr>
        <p:grpSpPr>
          <a:xfrm>
            <a:off x="-20320" y="1518980"/>
            <a:ext cx="6098123" cy="5345086"/>
            <a:chOff x="-15240" y="1173480"/>
            <a:chExt cx="6485378" cy="5684520"/>
          </a:xfrm>
        </p:grpSpPr>
        <p:grpSp>
          <p:nvGrpSpPr>
            <p:cNvPr id="12" name="Group 11"/>
            <p:cNvGrpSpPr/>
            <p:nvPr userDrawn="1"/>
          </p:nvGrpSpPr>
          <p:grpSpPr>
            <a:xfrm rot="16200000" flipV="1">
              <a:off x="385189" y="773051"/>
              <a:ext cx="5684520" cy="6485378"/>
              <a:chOff x="5470" y="2234087"/>
              <a:chExt cx="4052922" cy="4623913"/>
            </a:xfrm>
          </p:grpSpPr>
          <p:sp>
            <p:nvSpPr>
              <p:cNvPr id="13" name="Freeform 12"/>
              <p:cNvSpPr/>
              <p:nvPr userDrawn="1"/>
            </p:nvSpPr>
            <p:spPr>
              <a:xfrm>
                <a:off x="10084" y="2234087"/>
                <a:ext cx="3659796" cy="2995332"/>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Lst>
                <a:ahLst/>
                <a:cxnLst>
                  <a:cxn ang="0">
                    <a:pos x="connsiteX0" y="connsiteY0"/>
                  </a:cxn>
                  <a:cxn ang="0">
                    <a:pos x="connsiteX1" y="connsiteY1"/>
                  </a:cxn>
                  <a:cxn ang="0">
                    <a:pos x="connsiteX2" y="connsiteY2"/>
                  </a:cxn>
                  <a:cxn ang="0">
                    <a:pos x="connsiteX3" y="connsiteY3"/>
                  </a:cxn>
                </a:cxnLst>
                <a:rect l="l" t="t" r="r" b="b"/>
                <a:pathLst>
                  <a:path w="3659796" h="2837683">
                    <a:moveTo>
                      <a:pt x="3659796" y="1783924"/>
                    </a:moveTo>
                    <a:cubicBezTo>
                      <a:pt x="2347587" y="893468"/>
                      <a:pt x="1251698" y="495536"/>
                      <a:pt x="0" y="0"/>
                    </a:cubicBezTo>
                    <a:cubicBezTo>
                      <a:pt x="2241" y="948018"/>
                      <a:pt x="4483" y="1889665"/>
                      <a:pt x="6724" y="2837683"/>
                    </a:cubicBezTo>
                    <a:lnTo>
                      <a:pt x="3659796" y="178392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sp>
            <p:nvSpPr>
              <p:cNvPr id="14" name="Freeform 13"/>
              <p:cNvSpPr/>
              <p:nvPr userDrawn="1"/>
            </p:nvSpPr>
            <p:spPr>
              <a:xfrm>
                <a:off x="5470" y="3922052"/>
                <a:ext cx="4052922" cy="2935948"/>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2922" h="2935948">
                    <a:moveTo>
                      <a:pt x="3578226" y="2935948"/>
                    </a:moveTo>
                    <a:lnTo>
                      <a:pt x="0" y="2927075"/>
                    </a:lnTo>
                    <a:cubicBezTo>
                      <a:pt x="4997" y="2150085"/>
                      <a:pt x="4523" y="1351216"/>
                      <a:pt x="9520" y="574226"/>
                    </a:cubicBezTo>
                    <a:lnTo>
                      <a:pt x="292514" y="976370"/>
                    </a:lnTo>
                    <a:cubicBezTo>
                      <a:pt x="1181802" y="1226354"/>
                      <a:pt x="2622566" y="-407363"/>
                      <a:pt x="3526532" y="97407"/>
                    </a:cubicBezTo>
                    <a:cubicBezTo>
                      <a:pt x="4430498" y="602177"/>
                      <a:pt x="3980095" y="2347234"/>
                      <a:pt x="3578226"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grpSp>
        <p:pic>
          <p:nvPicPr>
            <p:cNvPr id="17"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7072" r="38344"/>
            <a:stretch/>
          </p:blipFill>
          <p:spPr>
            <a:xfrm>
              <a:off x="0" y="1520686"/>
              <a:ext cx="5177971" cy="5337313"/>
            </a:xfrm>
            <a:prstGeom prst="rect">
              <a:avLst/>
            </a:prstGeom>
          </p:spPr>
        </p:pic>
      </p:grpSp>
      <p:pic>
        <p:nvPicPr>
          <p:cNvPr id="19"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43986" y="539754"/>
            <a:ext cx="3087428" cy="688815"/>
          </a:xfrm>
          <a:prstGeom prst="rect">
            <a:avLst/>
          </a:prstGeom>
        </p:spPr>
      </p:pic>
    </p:spTree>
    <p:extLst>
      <p:ext uri="{BB962C8B-B14F-4D97-AF65-F5344CB8AC3E}">
        <p14:creationId xmlns:p14="http://schemas.microsoft.com/office/powerpoint/2010/main" val="13173524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Title Slide 1">
    <p:bg>
      <p:bgPr>
        <a:solidFill>
          <a:srgbClr val="EDEDED"/>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 y="2"/>
          <a:ext cx="195384" cy="158751"/>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2"/>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0" name="Group 19"/>
          <p:cNvGrpSpPr/>
          <p:nvPr userDrawn="1"/>
        </p:nvGrpSpPr>
        <p:grpSpPr>
          <a:xfrm rot="10800000">
            <a:off x="-16148" y="-9139"/>
            <a:ext cx="7063393" cy="6862770"/>
            <a:chOff x="2088634" y="1836"/>
            <a:chExt cx="7057105" cy="6856659"/>
          </a:xfrm>
        </p:grpSpPr>
        <p:sp>
          <p:nvSpPr>
            <p:cNvPr id="21" name="Freeform 20"/>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sp>
          <p:nvSpPr>
            <p:cNvPr id="22" name="Freeform 21"/>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grpSp>
      <p:sp>
        <p:nvSpPr>
          <p:cNvPr id="23" name="Titre 1"/>
          <p:cNvSpPr>
            <a:spLocks noGrp="1"/>
          </p:cNvSpPr>
          <p:nvPr>
            <p:ph type="title" hasCustomPrompt="1"/>
            <p:custDataLst>
              <p:tags r:id="rId2"/>
            </p:custDataLst>
          </p:nvPr>
        </p:nvSpPr>
        <p:spPr>
          <a:xfrm>
            <a:off x="432585" y="913947"/>
            <a:ext cx="6326607" cy="1199092"/>
          </a:xfrm>
          <a:prstGeom prst="rect">
            <a:avLst/>
          </a:prstGeom>
        </p:spPr>
        <p:txBody>
          <a:bodyPr vert="horz" lIns="0" tIns="33059" rIns="66118" bIns="33059" rtlCol="0" anchor="ctr" anchorCtr="0">
            <a:noAutofit/>
          </a:bodyPr>
          <a:lstStyle>
            <a:lvl1pPr algn="l" defTabSz="1556000" rtl="0" eaLnBrk="1" latinLnBrk="0" hangingPunct="1">
              <a:spcBef>
                <a:spcPct val="0"/>
              </a:spcBef>
              <a:buNone/>
              <a:defRPr lang="en-US" sz="4765" b="0" kern="1200" cap="none" baseline="0" dirty="0" smtClean="0">
                <a:solidFill>
                  <a:srgbClr val="2B0A3D"/>
                </a:solidFill>
                <a:latin typeface="Segoe UI" panose="020B0502040204020203" pitchFamily="34" charset="0"/>
                <a:ea typeface="Verdana" panose="020B0604030504040204" pitchFamily="34" charset="0"/>
                <a:cs typeface="Segoe UI" panose="020B0502040204020203" pitchFamily="34" charset="0"/>
              </a:defRPr>
            </a:lvl1pPr>
          </a:lstStyle>
          <a:p>
            <a:pPr lvl="0"/>
            <a:r>
              <a:rPr lang="en-US" noProof="0" dirty="0"/>
              <a:t>Click to edit Master </a:t>
            </a:r>
            <a:br>
              <a:rPr lang="en-US" noProof="0" dirty="0"/>
            </a:br>
            <a:r>
              <a:rPr lang="en-US" noProof="0" dirty="0"/>
              <a:t>text style</a:t>
            </a:r>
          </a:p>
        </p:txBody>
      </p:sp>
      <p:sp>
        <p:nvSpPr>
          <p:cNvPr id="24" name="Text Placeholder 5"/>
          <p:cNvSpPr>
            <a:spLocks noGrp="1"/>
          </p:cNvSpPr>
          <p:nvPr>
            <p:ph type="body" sz="quarter" idx="10"/>
          </p:nvPr>
        </p:nvSpPr>
        <p:spPr>
          <a:xfrm>
            <a:off x="432585" y="2219108"/>
            <a:ext cx="6326607" cy="410369"/>
          </a:xfrm>
        </p:spPr>
        <p:txBody>
          <a:bodyPr lIns="0"/>
          <a:lstStyle>
            <a:lvl1pPr marL="0" indent="0" algn="l">
              <a:buNone/>
              <a:defRPr sz="3403">
                <a:solidFill>
                  <a:schemeClr val="bg1"/>
                </a:solidFill>
                <a:latin typeface="Segoe UI" panose="020B0502040204020203" pitchFamily="34" charset="0"/>
                <a:ea typeface="Verdana" panose="020B0604030504040204" pitchFamily="34" charset="0"/>
                <a:cs typeface="Segoe UI" panose="020B0502040204020203" pitchFamily="34" charset="0"/>
              </a:defRPr>
            </a:lvl1pPr>
            <a:lvl2pPr>
              <a:buNone/>
              <a:defRPr/>
            </a:lvl2pPr>
            <a:lvl3pPr>
              <a:buNone/>
              <a:defRPr/>
            </a:lvl3pPr>
            <a:lvl4pPr>
              <a:buNone/>
              <a:defRPr/>
            </a:lvl4pPr>
            <a:lvl5pPr>
              <a:buNone/>
              <a:defRPr/>
            </a:lvl5pPr>
          </a:lstStyle>
          <a:p>
            <a:pPr lvl="0"/>
            <a:r>
              <a:rPr lang="en-US"/>
              <a:t>Click to edit Master text styles</a:t>
            </a:r>
          </a:p>
        </p:txBody>
      </p:sp>
      <p:pic>
        <p:nvPicPr>
          <p:cNvPr id="2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561637" y="5838446"/>
            <a:ext cx="3087428" cy="688815"/>
          </a:xfrm>
          <a:prstGeom prst="rect">
            <a:avLst/>
          </a:prstGeom>
        </p:spPr>
      </p:pic>
    </p:spTree>
    <p:extLst>
      <p:ext uri="{BB962C8B-B14F-4D97-AF65-F5344CB8AC3E}">
        <p14:creationId xmlns:p14="http://schemas.microsoft.com/office/powerpoint/2010/main" val="18352605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nt-Agenda">
    <p:bg>
      <p:bgPr>
        <a:solidFill>
          <a:srgbClr val="EDEDED"/>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 y="2"/>
          <a:ext cx="195384" cy="158751"/>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2"/>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Freeform 7"/>
          <p:cNvSpPr/>
          <p:nvPr userDrawn="1"/>
        </p:nvSpPr>
        <p:spPr>
          <a:xfrm flipH="1">
            <a:off x="2" y="-9891"/>
            <a:ext cx="7920493" cy="2767627"/>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2" dirty="0">
              <a:latin typeface="Arial" pitchFamily="34" charset="0"/>
              <a:cs typeface="Arial" pitchFamily="34" charset="0"/>
            </a:endParaRPr>
          </a:p>
        </p:txBody>
      </p:sp>
      <p:sp>
        <p:nvSpPr>
          <p:cNvPr id="12" name="Title Placeholder 1"/>
          <p:cNvSpPr>
            <a:spLocks noGrp="1"/>
          </p:cNvSpPr>
          <p:nvPr>
            <p:ph type="title"/>
          </p:nvPr>
        </p:nvSpPr>
        <p:spPr>
          <a:xfrm>
            <a:off x="6" y="33684"/>
            <a:ext cx="625502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Segoe UI" panose="020B0502040204020203" pitchFamily="34" charset="0"/>
                <a:ea typeface="Verdana" panose="020B0604030504040204"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21577654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15" name="Line 7">
            <a:extLst>
              <a:ext uri="{FF2B5EF4-FFF2-40B4-BE49-F238E27FC236}">
                <a16:creationId xmlns:a16="http://schemas.microsoft.com/office/drawing/2014/main" id="{E8849EFC-267B-43FA-8D9D-B335B1B2E38A}"/>
              </a:ext>
            </a:extLst>
          </p:cNvPr>
          <p:cNvSpPr>
            <a:spLocks noChangeShapeType="1"/>
          </p:cNvSpPr>
          <p:nvPr userDrawn="1"/>
        </p:nvSpPr>
        <p:spPr bwMode="gray">
          <a:xfrm>
            <a:off x="11588749" y="6450414"/>
            <a:ext cx="0" cy="319616"/>
          </a:xfrm>
          <a:prstGeom prst="line">
            <a:avLst/>
          </a:prstGeom>
          <a:noFill/>
          <a:ln w="9525">
            <a:solidFill>
              <a:srgbClr val="969696"/>
            </a:solidFill>
            <a:round/>
            <a:headEnd/>
            <a:tailEnd/>
          </a:ln>
          <a:effectLst/>
        </p:spPr>
        <p:txBody>
          <a:bodyPr wrap="none" anchor="ctr"/>
          <a:lstStyle/>
          <a:p>
            <a:endParaRPr lang="en-US" sz="2723" dirty="0">
              <a:solidFill>
                <a:schemeClr val="tx2"/>
              </a:solidFill>
              <a:latin typeface="+mj-lt"/>
            </a:endParaRPr>
          </a:p>
        </p:txBody>
      </p:sp>
      <p:sp>
        <p:nvSpPr>
          <p:cNvPr id="16" name="Text Box 8">
            <a:extLst>
              <a:ext uri="{FF2B5EF4-FFF2-40B4-BE49-F238E27FC236}">
                <a16:creationId xmlns:a16="http://schemas.microsoft.com/office/drawing/2014/main" id="{B265E917-F5F5-47E7-985D-25AA9CCFE342}"/>
              </a:ext>
            </a:extLst>
          </p:cNvPr>
          <p:cNvSpPr txBox="1">
            <a:spLocks noChangeArrowheads="1"/>
          </p:cNvSpPr>
          <p:nvPr userDrawn="1"/>
        </p:nvSpPr>
        <p:spPr bwMode="gray">
          <a:xfrm>
            <a:off x="11588754" y="6448296"/>
            <a:ext cx="510718"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mj-lt"/>
              </a:rPr>
              <a:pPr eaLnBrk="0" hangingPunct="0">
                <a:lnSpc>
                  <a:spcPct val="85000"/>
                </a:lnSpc>
              </a:pPr>
              <a:t>‹#›</a:t>
            </a:fld>
            <a:endParaRPr lang="en-US" sz="800" dirty="0">
              <a:solidFill>
                <a:srgbClr val="969696"/>
              </a:solidFill>
              <a:latin typeface="+mj-lt"/>
            </a:endParaRPr>
          </a:p>
        </p:txBody>
      </p:sp>
      <p:sp>
        <p:nvSpPr>
          <p:cNvPr id="17" name="Text Box 9">
            <a:extLst>
              <a:ext uri="{FF2B5EF4-FFF2-40B4-BE49-F238E27FC236}">
                <a16:creationId xmlns:a16="http://schemas.microsoft.com/office/drawing/2014/main" id="{8934A6B4-2902-4898-9B2D-15365FEC6F70}"/>
              </a:ext>
            </a:extLst>
          </p:cNvPr>
          <p:cNvSpPr txBox="1">
            <a:spLocks noChangeArrowheads="1"/>
          </p:cNvSpPr>
          <p:nvPr userDrawn="1"/>
        </p:nvSpPr>
        <p:spPr bwMode="gray">
          <a:xfrm>
            <a:off x="5475819" y="6508399"/>
            <a:ext cx="6068484" cy="203645"/>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51" dirty="0">
                <a:solidFill>
                  <a:schemeClr val="tx2"/>
                </a:solidFill>
                <a:latin typeface="+mj-lt"/>
              </a:rPr>
              <a:t>The information contained in this document is proprietary. Copyright © 2018 Capgemini. All rights reserved.</a:t>
            </a:r>
          </a:p>
        </p:txBody>
      </p:sp>
    </p:spTree>
    <p:extLst>
      <p:ext uri="{BB962C8B-B14F-4D97-AF65-F5344CB8AC3E}">
        <p14:creationId xmlns:p14="http://schemas.microsoft.com/office/powerpoint/2010/main" val="861530015"/>
      </p:ext>
    </p:extLst>
  </p:cSld>
  <p:clrMapOvr>
    <a:masterClrMapping/>
  </p:clrMapOvr>
  <p:extLst>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8"/>
          <p:cNvSpPr/>
          <p:nvPr userDrawn="1"/>
        </p:nvSpPr>
        <p:spPr>
          <a:xfrm flipH="1">
            <a:off x="-2" y="5"/>
            <a:ext cx="5677239" cy="6089301"/>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2246" h="5938447">
                <a:moveTo>
                  <a:pt x="0" y="0"/>
                </a:moveTo>
                <a:lnTo>
                  <a:pt x="5940370" y="0"/>
                </a:lnTo>
                <a:cubicBezTo>
                  <a:pt x="5933871" y="1727873"/>
                  <a:pt x="5946869" y="3455745"/>
                  <a:pt x="5940370" y="5183618"/>
                </a:cubicBezTo>
                <a:cubicBezTo>
                  <a:pt x="5649138" y="5507350"/>
                  <a:pt x="3902952" y="6614277"/>
                  <a:pt x="2709867" y="5339500"/>
                </a:cubicBezTo>
                <a:cubicBezTo>
                  <a:pt x="3232707" y="4545548"/>
                  <a:pt x="234667" y="1659579"/>
                  <a:pt x="0" y="0"/>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2" dirty="0">
              <a:latin typeface="Arial" pitchFamily="34" charset="0"/>
              <a:cs typeface="Arial" pitchFamily="34" charset="0"/>
            </a:endParaRPr>
          </a:p>
        </p:txBody>
      </p:sp>
      <p:sp>
        <p:nvSpPr>
          <p:cNvPr id="10" name="Title Placeholder 1"/>
          <p:cNvSpPr>
            <a:spLocks noGrp="1"/>
          </p:cNvSpPr>
          <p:nvPr>
            <p:ph type="title"/>
          </p:nvPr>
        </p:nvSpPr>
        <p:spPr>
          <a:xfrm>
            <a:off x="18487" y="33684"/>
            <a:ext cx="536073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351531" y="251520"/>
            <a:ext cx="565808" cy="612832"/>
          </a:xfrm>
          <a:prstGeom prst="rect">
            <a:avLst/>
          </a:prstGeom>
        </p:spPr>
      </p:pic>
    </p:spTree>
    <p:extLst>
      <p:ext uri="{BB962C8B-B14F-4D97-AF65-F5344CB8AC3E}">
        <p14:creationId xmlns:p14="http://schemas.microsoft.com/office/powerpoint/2010/main" val="15804282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3528172" y="0"/>
            <a:ext cx="8687689" cy="6860409"/>
          </a:xfrm>
          <a:custGeom>
            <a:avLst/>
            <a:gdLst>
              <a:gd name="connsiteX0" fmla="*/ 8442036 w 8442036"/>
              <a:gd name="connsiteY0" fmla="*/ 9237 h 6862618"/>
              <a:gd name="connsiteX1" fmla="*/ 8442036 w 8442036"/>
              <a:gd name="connsiteY1" fmla="*/ 6862618 h 6862618"/>
              <a:gd name="connsiteX2" fmla="*/ 6576291 w 8442036"/>
              <a:gd name="connsiteY2" fmla="*/ 6862618 h 6862618"/>
              <a:gd name="connsiteX3" fmla="*/ 5440218 w 8442036"/>
              <a:gd name="connsiteY3" fmla="*/ 59020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52918 w 8442036"/>
              <a:gd name="connsiteY3" fmla="*/ 59274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581439 w 8581439"/>
              <a:gd name="connsiteY0" fmla="*/ 9237 h 6862618"/>
              <a:gd name="connsiteX1" fmla="*/ 8581439 w 8581439"/>
              <a:gd name="connsiteY1" fmla="*/ 6862618 h 6862618"/>
              <a:gd name="connsiteX2" fmla="*/ 6715694 w 8581439"/>
              <a:gd name="connsiteY2" fmla="*/ 6862618 h 6862618"/>
              <a:gd name="connsiteX3" fmla="*/ 5566921 w 8581439"/>
              <a:gd name="connsiteY3" fmla="*/ 5882987 h 6862618"/>
              <a:gd name="connsiteX4" fmla="*/ 3477194 w 8581439"/>
              <a:gd name="connsiteY4" fmla="*/ 2545773 h 6862618"/>
              <a:gd name="connsiteX5" fmla="*/ 139403 w 8581439"/>
              <a:gd name="connsiteY5" fmla="*/ 0 h 6862618"/>
              <a:gd name="connsiteX6" fmla="*/ 8581439 w 8581439"/>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708736 w 8708736"/>
              <a:gd name="connsiteY0" fmla="*/ 9237 h 6862618"/>
              <a:gd name="connsiteX1" fmla="*/ 8442036 w 8708736"/>
              <a:gd name="connsiteY1" fmla="*/ 6862618 h 6862618"/>
              <a:gd name="connsiteX2" fmla="*/ 6576291 w 8708736"/>
              <a:gd name="connsiteY2" fmla="*/ 6862618 h 6862618"/>
              <a:gd name="connsiteX3" fmla="*/ 5427518 w 8708736"/>
              <a:gd name="connsiteY3" fmla="*/ 5882987 h 6862618"/>
              <a:gd name="connsiteX4" fmla="*/ 3572741 w 8708736"/>
              <a:gd name="connsiteY4" fmla="*/ 2469573 h 6862618"/>
              <a:gd name="connsiteX5" fmla="*/ 0 w 8708736"/>
              <a:gd name="connsiteY5" fmla="*/ 0 h 6862618"/>
              <a:gd name="connsiteX6" fmla="*/ 8708736 w 8708736"/>
              <a:gd name="connsiteY6" fmla="*/ 9237 h 686261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2912"/>
              <a:gd name="connsiteX1" fmla="*/ 8671224 w 8708736"/>
              <a:gd name="connsiteY1" fmla="*/ 6862912 h 6862912"/>
              <a:gd name="connsiteX2" fmla="*/ 6576291 w 8708736"/>
              <a:gd name="connsiteY2" fmla="*/ 6862618 h 6862912"/>
              <a:gd name="connsiteX3" fmla="*/ 5427518 w 8708736"/>
              <a:gd name="connsiteY3" fmla="*/ 5882987 h 6862912"/>
              <a:gd name="connsiteX4" fmla="*/ 3572741 w 8708736"/>
              <a:gd name="connsiteY4" fmla="*/ 2469573 h 6862912"/>
              <a:gd name="connsiteX5" fmla="*/ 0 w 8708736"/>
              <a:gd name="connsiteY5" fmla="*/ 0 h 6862912"/>
              <a:gd name="connsiteX6" fmla="*/ 8708736 w 8708736"/>
              <a:gd name="connsiteY6" fmla="*/ 9237 h 6862912"/>
              <a:gd name="connsiteX0" fmla="*/ 8708736 w 8708736"/>
              <a:gd name="connsiteY0" fmla="*/ 9237 h 6874702"/>
              <a:gd name="connsiteX1" fmla="*/ 8690874 w 8708736"/>
              <a:gd name="connsiteY1" fmla="*/ 6874702 h 6874702"/>
              <a:gd name="connsiteX2" fmla="*/ 6576291 w 8708736"/>
              <a:gd name="connsiteY2" fmla="*/ 6862618 h 6874702"/>
              <a:gd name="connsiteX3" fmla="*/ 5427518 w 8708736"/>
              <a:gd name="connsiteY3" fmla="*/ 5882987 h 6874702"/>
              <a:gd name="connsiteX4" fmla="*/ 3572741 w 8708736"/>
              <a:gd name="connsiteY4" fmla="*/ 2469573 h 6874702"/>
              <a:gd name="connsiteX5" fmla="*/ 0 w 8708736"/>
              <a:gd name="connsiteY5" fmla="*/ 0 h 6874702"/>
              <a:gd name="connsiteX6" fmla="*/ 8708736 w 8708736"/>
              <a:gd name="connsiteY6" fmla="*/ 9237 h 6874702"/>
              <a:gd name="connsiteX0" fmla="*/ 8708736 w 8708736"/>
              <a:gd name="connsiteY0" fmla="*/ 9237 h 6877028"/>
              <a:gd name="connsiteX1" fmla="*/ 8690874 w 8708736"/>
              <a:gd name="connsiteY1" fmla="*/ 6874702 h 6877028"/>
              <a:gd name="connsiteX2" fmla="*/ 6585461 w 8708736"/>
              <a:gd name="connsiteY2" fmla="*/ 6877028 h 6877028"/>
              <a:gd name="connsiteX3" fmla="*/ 5427518 w 8708736"/>
              <a:gd name="connsiteY3" fmla="*/ 5882987 h 6877028"/>
              <a:gd name="connsiteX4" fmla="*/ 3572741 w 8708736"/>
              <a:gd name="connsiteY4" fmla="*/ 2469573 h 6877028"/>
              <a:gd name="connsiteX5" fmla="*/ 0 w 8708736"/>
              <a:gd name="connsiteY5" fmla="*/ 0 h 6877028"/>
              <a:gd name="connsiteX6" fmla="*/ 8708736 w 8708736"/>
              <a:gd name="connsiteY6" fmla="*/ 9237 h 687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8736" h="6877028">
                <a:moveTo>
                  <a:pt x="8708736" y="9237"/>
                </a:moveTo>
                <a:cubicBezTo>
                  <a:pt x="8700269" y="2295814"/>
                  <a:pt x="8699341" y="4588125"/>
                  <a:pt x="8690874" y="6874702"/>
                </a:cubicBezTo>
                <a:lnTo>
                  <a:pt x="6585461" y="6877028"/>
                </a:lnTo>
                <a:lnTo>
                  <a:pt x="5427518" y="5882987"/>
                </a:lnTo>
                <a:cubicBezTo>
                  <a:pt x="6753610" y="3708305"/>
                  <a:pt x="4242377" y="2770621"/>
                  <a:pt x="3572741" y="2469573"/>
                </a:cubicBezTo>
                <a:cubicBezTo>
                  <a:pt x="2903105" y="2168525"/>
                  <a:pt x="533593" y="1597506"/>
                  <a:pt x="0" y="0"/>
                </a:cubicBezTo>
                <a:lnTo>
                  <a:pt x="8708736" y="923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2" dirty="0">
              <a:latin typeface="Arial" pitchFamily="34" charset="0"/>
              <a:cs typeface="Arial" pitchFamily="34" charset="0"/>
            </a:endParaRPr>
          </a:p>
        </p:txBody>
      </p:sp>
      <p:sp>
        <p:nvSpPr>
          <p:cNvPr id="9" name="Titre 1"/>
          <p:cNvSpPr>
            <a:spLocks noGrp="1"/>
          </p:cNvSpPr>
          <p:nvPr>
            <p:ph type="title" hasCustomPrompt="1"/>
            <p:custDataLst>
              <p:tags r:id="rId1"/>
            </p:custDataLst>
          </p:nvPr>
        </p:nvSpPr>
        <p:spPr>
          <a:xfrm>
            <a:off x="5613400" y="572851"/>
            <a:ext cx="6121400" cy="1199092"/>
          </a:xfrm>
          <a:prstGeom prst="rect">
            <a:avLst/>
          </a:prstGeom>
        </p:spPr>
        <p:txBody>
          <a:bodyPr vert="horz" lIns="0" tIns="33059" rIns="0" bIns="33059" rtlCol="0" anchor="ctr" anchorCtr="0">
            <a:noAutofit/>
          </a:bodyPr>
          <a:lstStyle>
            <a:lvl1pPr algn="r" defTabSz="1556000" rtl="0" eaLnBrk="1" latinLnBrk="0" hangingPunct="1">
              <a:spcBef>
                <a:spcPct val="0"/>
              </a:spcBef>
              <a:buNone/>
              <a:defRPr lang="en-US" sz="4765"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0" name="Text Placeholder 5"/>
          <p:cNvSpPr>
            <a:spLocks noGrp="1"/>
          </p:cNvSpPr>
          <p:nvPr>
            <p:ph type="body" sz="quarter" idx="10"/>
          </p:nvPr>
        </p:nvSpPr>
        <p:spPr>
          <a:xfrm>
            <a:off x="5613400" y="1878012"/>
            <a:ext cx="6121400" cy="410369"/>
          </a:xfrm>
        </p:spPr>
        <p:txBody>
          <a:bodyPr lIns="0" rIns="0"/>
          <a:lstStyle>
            <a:lvl1pPr marL="0" indent="0" algn="r">
              <a:buNone/>
              <a:defRPr sz="3403">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pic>
        <p:nvPicPr>
          <p:cNvPr id="11"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072" r="38344"/>
          <a:stretch/>
        </p:blipFill>
        <p:spPr>
          <a:xfrm>
            <a:off x="1" y="325828"/>
            <a:ext cx="6337163" cy="6532173"/>
          </a:xfrm>
          <a:prstGeom prst="rect">
            <a:avLst/>
          </a:prstGeom>
        </p:spPr>
      </p:pic>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041505" y="5852232"/>
            <a:ext cx="565808" cy="612832"/>
          </a:xfrm>
          <a:prstGeom prst="rect">
            <a:avLst/>
          </a:prstGeom>
        </p:spPr>
      </p:pic>
    </p:spTree>
    <p:extLst>
      <p:ext uri="{BB962C8B-B14F-4D97-AF65-F5344CB8AC3E}">
        <p14:creationId xmlns:p14="http://schemas.microsoft.com/office/powerpoint/2010/main" val="1618868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sp>
        <p:nvSpPr>
          <p:cNvPr id="1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4598796" y="-726823"/>
            <a:ext cx="6866376" cy="8320025"/>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5134707 w 6857999"/>
              <a:gd name="connsiteY3" fmla="*/ 3984163 h 6240016"/>
              <a:gd name="connsiteX4" fmla="*/ 2767903 w 6857999"/>
              <a:gd name="connsiteY4" fmla="*/ 5342723 h 6240016"/>
              <a:gd name="connsiteX5" fmla="*/ 1497189 w 6857999"/>
              <a:gd name="connsiteY5" fmla="*/ 6201822 h 6240016"/>
              <a:gd name="connsiteX6" fmla="*/ 1393480 w 6857999"/>
              <a:gd name="connsiteY6" fmla="*/ 6240016 h 6240016"/>
              <a:gd name="connsiteX7" fmla="*/ 0 w 6857999"/>
              <a:gd name="connsiteY7" fmla="*/ 618342 h 6240016"/>
              <a:gd name="connsiteX8" fmla="*/ 0 w 6857999"/>
              <a:gd name="connsiteY8" fmla="*/ 6240016 h 6240016"/>
              <a:gd name="connsiteX9" fmla="*/ 921827 w 6857999"/>
              <a:gd name="connsiteY9" fmla="*/ 6240016 h 6240016"/>
              <a:gd name="connsiteX10" fmla="*/ 877464 w 6857999"/>
              <a:gd name="connsiteY10" fmla="*/ 6206986 h 6240016"/>
              <a:gd name="connsiteX11" fmla="*/ 1720124 w 6857999"/>
              <a:gd name="connsiteY11" fmla="*/ 3319666 h 6240016"/>
              <a:gd name="connsiteX12" fmla="*/ 1778012 w 6857999"/>
              <a:gd name="connsiteY12" fmla="*/ 0 h 6240016"/>
              <a:gd name="connsiteX13" fmla="*/ 36658 w 6857999"/>
              <a:gd name="connsiteY13" fmla="*/ 619001 h 6240016"/>
              <a:gd name="connsiteX14" fmla="*/ 0 w 6857999"/>
              <a:gd name="connsiteY14" fmla="*/ 618342 h 6240016"/>
              <a:gd name="connsiteX0" fmla="*/ 1393480 w 5134707"/>
              <a:gd name="connsiteY0" fmla="*/ 6240016 h 6240016"/>
              <a:gd name="connsiteX1" fmla="*/ 5099537 w 5134707"/>
              <a:gd name="connsiteY1" fmla="*/ 6234993 h 6240016"/>
              <a:gd name="connsiteX2" fmla="*/ 5134707 w 5134707"/>
              <a:gd name="connsiteY2" fmla="*/ 3984163 h 6240016"/>
              <a:gd name="connsiteX3" fmla="*/ 2767903 w 5134707"/>
              <a:gd name="connsiteY3" fmla="*/ 5342723 h 6240016"/>
              <a:gd name="connsiteX4" fmla="*/ 1497189 w 5134707"/>
              <a:gd name="connsiteY4" fmla="*/ 6201822 h 6240016"/>
              <a:gd name="connsiteX5" fmla="*/ 1393480 w 5134707"/>
              <a:gd name="connsiteY5" fmla="*/ 6240016 h 6240016"/>
              <a:gd name="connsiteX6" fmla="*/ 0 w 5134707"/>
              <a:gd name="connsiteY6" fmla="*/ 618342 h 6240016"/>
              <a:gd name="connsiteX7" fmla="*/ 0 w 5134707"/>
              <a:gd name="connsiteY7" fmla="*/ 6240016 h 6240016"/>
              <a:gd name="connsiteX8" fmla="*/ 921827 w 5134707"/>
              <a:gd name="connsiteY8" fmla="*/ 6240016 h 6240016"/>
              <a:gd name="connsiteX9" fmla="*/ 877464 w 5134707"/>
              <a:gd name="connsiteY9" fmla="*/ 6206986 h 6240016"/>
              <a:gd name="connsiteX10" fmla="*/ 1720124 w 5134707"/>
              <a:gd name="connsiteY10" fmla="*/ 3319666 h 6240016"/>
              <a:gd name="connsiteX11" fmla="*/ 1778012 w 5134707"/>
              <a:gd name="connsiteY11" fmla="*/ 0 h 6240016"/>
              <a:gd name="connsiteX12" fmla="*/ 36658 w 5134707"/>
              <a:gd name="connsiteY12" fmla="*/ 619001 h 6240016"/>
              <a:gd name="connsiteX13" fmla="*/ 0 w 5134707"/>
              <a:gd name="connsiteY13" fmla="*/ 618342 h 6240016"/>
              <a:gd name="connsiteX0" fmla="*/ 1393480 w 5149779"/>
              <a:gd name="connsiteY0" fmla="*/ 6240016 h 6240016"/>
              <a:gd name="connsiteX1" fmla="*/ 5149779 w 5149779"/>
              <a:gd name="connsiteY1" fmla="*/ 6234993 h 6240016"/>
              <a:gd name="connsiteX2" fmla="*/ 5134707 w 5149779"/>
              <a:gd name="connsiteY2" fmla="*/ 3984163 h 6240016"/>
              <a:gd name="connsiteX3" fmla="*/ 2767903 w 5149779"/>
              <a:gd name="connsiteY3" fmla="*/ 5342723 h 6240016"/>
              <a:gd name="connsiteX4" fmla="*/ 1497189 w 5149779"/>
              <a:gd name="connsiteY4" fmla="*/ 6201822 h 6240016"/>
              <a:gd name="connsiteX5" fmla="*/ 1393480 w 5149779"/>
              <a:gd name="connsiteY5" fmla="*/ 6240016 h 6240016"/>
              <a:gd name="connsiteX6" fmla="*/ 0 w 5149779"/>
              <a:gd name="connsiteY6" fmla="*/ 618342 h 6240016"/>
              <a:gd name="connsiteX7" fmla="*/ 0 w 5149779"/>
              <a:gd name="connsiteY7" fmla="*/ 6240016 h 6240016"/>
              <a:gd name="connsiteX8" fmla="*/ 921827 w 5149779"/>
              <a:gd name="connsiteY8" fmla="*/ 6240016 h 6240016"/>
              <a:gd name="connsiteX9" fmla="*/ 877464 w 5149779"/>
              <a:gd name="connsiteY9" fmla="*/ 6206986 h 6240016"/>
              <a:gd name="connsiteX10" fmla="*/ 1720124 w 5149779"/>
              <a:gd name="connsiteY10" fmla="*/ 3319666 h 6240016"/>
              <a:gd name="connsiteX11" fmla="*/ 1778012 w 5149779"/>
              <a:gd name="connsiteY11" fmla="*/ 0 h 6240016"/>
              <a:gd name="connsiteX12" fmla="*/ 36658 w 5149779"/>
              <a:gd name="connsiteY12" fmla="*/ 619001 h 6240016"/>
              <a:gd name="connsiteX13" fmla="*/ 0 w 5149779"/>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9780" h="6240016">
                <a:moveTo>
                  <a:pt x="1393480" y="6240016"/>
                </a:moveTo>
                <a:lnTo>
                  <a:pt x="5149779" y="6234993"/>
                </a:lnTo>
                <a:cubicBezTo>
                  <a:pt x="5149779" y="5484716"/>
                  <a:pt x="5149780" y="4734440"/>
                  <a:pt x="5149780" y="3984163"/>
                </a:cubicBezTo>
                <a:cubicBezTo>
                  <a:pt x="3520588" y="4384034"/>
                  <a:pt x="3215893" y="4963068"/>
                  <a:pt x="2767903" y="5342723"/>
                </a:cubicBezTo>
                <a:cubicBezTo>
                  <a:pt x="2224582" y="5803167"/>
                  <a:pt x="1804503" y="6071896"/>
                  <a:pt x="1497189" y="6201822"/>
                </a:cubicBezTo>
                <a:lnTo>
                  <a:pt x="1393480" y="6240016"/>
                </a:ln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lnTo>
                  <a:pt x="0" y="618342"/>
                </a:lnTo>
                <a:close/>
              </a:path>
            </a:pathLst>
          </a:custGeom>
          <a:solidFill>
            <a:srgbClr val="8EC63E"/>
          </a:solidFill>
          <a:ln>
            <a:noFill/>
          </a:ln>
        </p:spPr>
        <p:txBody>
          <a:bodyPr vert="horz" wrap="square" lIns="155610" tIns="77805" rIns="155610" bIns="77805" numCol="1" anchor="t" anchorCtr="0" compatLnSpc="1">
            <a:prstTxWarp prst="textNoShape">
              <a:avLst/>
            </a:prstTxWarp>
            <a:noAutofit/>
          </a:bodyPr>
          <a:lstStyle/>
          <a:p>
            <a:endParaRPr lang="en-US" sz="5524" dirty="0"/>
          </a:p>
        </p:txBody>
      </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3"/>
            <a:ext cx="6121400" cy="1199092"/>
          </a:xfrm>
          <a:prstGeom prst="rect">
            <a:avLst/>
          </a:prstGeom>
        </p:spPr>
        <p:txBody>
          <a:bodyPr vert="horz" lIns="0" tIns="33059" rIns="66118" bIns="33059" rtlCol="0" anchor="ctr" anchorCtr="0">
            <a:noAutofit/>
          </a:bodyPr>
          <a:lstStyle>
            <a:lvl1pPr algn="l" defTabSz="1556000" rtl="0" eaLnBrk="1" latinLnBrk="0" hangingPunct="1">
              <a:spcBef>
                <a:spcPct val="0"/>
              </a:spcBef>
              <a:buNone/>
              <a:defRPr lang="en-US" sz="4765"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6" name="Text Placeholder 5"/>
          <p:cNvSpPr>
            <a:spLocks noGrp="1"/>
          </p:cNvSpPr>
          <p:nvPr>
            <p:ph type="body" sz="quarter" idx="10"/>
          </p:nvPr>
        </p:nvSpPr>
        <p:spPr>
          <a:xfrm>
            <a:off x="716280" y="5706995"/>
            <a:ext cx="6121400" cy="410369"/>
          </a:xfrm>
        </p:spPr>
        <p:txBody>
          <a:bodyPr lIns="0"/>
          <a:lstStyle>
            <a:lvl1pPr marL="0" indent="0" algn="l">
              <a:buNone/>
              <a:defRPr sz="3403">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spTree>
    <p:extLst>
      <p:ext uri="{BB962C8B-B14F-4D97-AF65-F5344CB8AC3E}">
        <p14:creationId xmlns:p14="http://schemas.microsoft.com/office/powerpoint/2010/main" val="2940213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69"/>
            <a:ext cx="11793979" cy="4643751"/>
          </a:xfrm>
        </p:spPr>
        <p:txBody>
          <a:bodyPr/>
          <a:lstStyle>
            <a:lvl1pPr>
              <a:buClr>
                <a:schemeClr val="accent2"/>
              </a:buClr>
              <a:defRPr b="0"/>
            </a:lvl1pPr>
            <a:lvl2pPr marL="680793" indent="-262052">
              <a:buFont typeface="Arial" panose="020B0604020202020204" pitchFamily="34" charset="0"/>
              <a:buChar char="̶"/>
              <a:defRPr/>
            </a:lvl2pPr>
            <a:lvl3pPr marL="972562" indent="-237737">
              <a:defRPr/>
            </a:lvl3pPr>
            <a:lvl4pPr marL="1264331" indent="-237737">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1196807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46826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3403"/>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69"/>
            <a:ext cx="11793979" cy="4643751"/>
          </a:xfrm>
        </p:spPr>
        <p:txBody>
          <a:bodyPr/>
          <a:lstStyle>
            <a:lvl1pPr>
              <a:buClr>
                <a:schemeClr val="accent2"/>
              </a:buClr>
              <a:defRPr b="0"/>
            </a:lvl1pPr>
            <a:lvl2pPr marL="680793" indent="-262052">
              <a:buFont typeface="Arial" panose="020B0604020202020204" pitchFamily="34" charset="0"/>
              <a:buChar char="̶"/>
              <a:defRPr/>
            </a:lvl2pPr>
            <a:lvl3pPr marL="972562" indent="-237737">
              <a:defRPr/>
            </a:lvl3pPr>
            <a:lvl4pPr marL="1264331" indent="-237737">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5960580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2" y="1494769"/>
            <a:ext cx="5573288" cy="4643751"/>
          </a:xfrm>
        </p:spPr>
        <p:txBody>
          <a:bodyPr/>
          <a:lstStyle>
            <a:lvl1pPr>
              <a:buClr>
                <a:schemeClr val="accent2"/>
              </a:buClr>
              <a:defRPr sz="1800" b="0"/>
            </a:lvl1pPr>
            <a:lvl2pPr marL="680793" indent="-262052">
              <a:buFont typeface="Arial" panose="020B0604020202020204" pitchFamily="34" charset="0"/>
              <a:buChar char="̶"/>
              <a:defRPr sz="1600"/>
            </a:lvl2pPr>
            <a:lvl3pPr marL="972562" indent="-237737">
              <a:defRPr sz="1400"/>
            </a:lvl3pPr>
            <a:lvl4pPr marL="1264331" indent="-237737">
              <a:buFont typeface="Courier New" panose="02070309020205020404" pitchFamily="49" charset="0"/>
              <a:buChar char="o"/>
              <a:defRPr sz="18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p:txBody>
      </p:sp>
      <p:sp>
        <p:nvSpPr>
          <p:cNvPr id="6" name="Text Placeholder 5">
            <a:extLst>
              <a:ext uri="{FF2B5EF4-FFF2-40B4-BE49-F238E27FC236}">
                <a16:creationId xmlns:a16="http://schemas.microsoft.com/office/drawing/2014/main" id="{CA6792A8-BC96-41EE-BA9A-D2A050377FAB}"/>
              </a:ext>
            </a:extLst>
          </p:cNvPr>
          <p:cNvSpPr>
            <a:spLocks noGrp="1"/>
          </p:cNvSpPr>
          <p:nvPr>
            <p:ph type="body" sz="quarter" idx="10"/>
          </p:nvPr>
        </p:nvSpPr>
        <p:spPr>
          <a:xfrm>
            <a:off x="6303963" y="1495425"/>
            <a:ext cx="5568950" cy="4643095"/>
          </a:xfrm>
        </p:spPr>
        <p:txBody>
          <a:bodyPr/>
          <a:lstStyle>
            <a:lvl1pPr>
              <a:defRPr sz="1800"/>
            </a:lvl1pPr>
            <a:lvl2pPr>
              <a:defRPr sz="1600"/>
            </a:lvl2pPr>
            <a:lvl3pPr>
              <a:defRPr sz="1400"/>
            </a:lvl3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407052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3_V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192774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 &amp; Leadline">
    <p:spTree>
      <p:nvGrpSpPr>
        <p:cNvPr id="1" name=""/>
        <p:cNvGrpSpPr/>
        <p:nvPr/>
      </p:nvGrpSpPr>
      <p:grpSpPr>
        <a:xfrm>
          <a:off x="0" y="0"/>
          <a:ext cx="0" cy="0"/>
          <a:chOff x="0" y="0"/>
          <a:chExt cx="0" cy="0"/>
        </a:xfrm>
      </p:grpSpPr>
      <p:sp>
        <p:nvSpPr>
          <p:cNvPr id="12" name="Freeform 11"/>
          <p:cNvSpPr/>
          <p:nvPr userDrawn="1"/>
        </p:nvSpPr>
        <p:spPr>
          <a:xfrm flipH="1">
            <a:off x="9343145" y="-8075"/>
            <a:ext cx="2856932" cy="1787822"/>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7392" h="1474528">
                <a:moveTo>
                  <a:pt x="4549" y="0"/>
                </a:moveTo>
                <a:lnTo>
                  <a:pt x="4226257" y="0"/>
                </a:lnTo>
                <a:cubicBezTo>
                  <a:pt x="4309660" y="189553"/>
                  <a:pt x="4370317" y="224429"/>
                  <a:pt x="4367284" y="746078"/>
                </a:cubicBezTo>
                <a:cubicBezTo>
                  <a:pt x="3311857" y="962927"/>
                  <a:pt x="1501253" y="1857612"/>
                  <a:pt x="0" y="1287439"/>
                </a:cubicBezTo>
                <a:cubicBezTo>
                  <a:pt x="1516" y="858293"/>
                  <a:pt x="3033" y="429146"/>
                  <a:pt x="4549"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84" dirty="0">
              <a:solidFill>
                <a:schemeClr val="tx2">
                  <a:lumMod val="50000"/>
                </a:schemeClr>
              </a:solidFill>
            </a:endParaRPr>
          </a:p>
        </p:txBody>
      </p:sp>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a:xfrm>
            <a:off x="6" y="1"/>
            <a:ext cx="9197588" cy="1062180"/>
          </a:xfrm>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955801"/>
            <a:ext cx="11793979" cy="4026560"/>
          </a:xfrm>
        </p:spPr>
        <p:txBody>
          <a:bodyPr/>
          <a:lstStyle>
            <a:lvl1pPr>
              <a:buClr>
                <a:schemeClr val="accent2"/>
              </a:buClr>
              <a:defRPr b="0"/>
            </a:lvl1pPr>
            <a:lvl2pPr marL="680793" indent="-262052">
              <a:buFont typeface="Arial" panose="020B0604020202020204" pitchFamily="34" charset="0"/>
              <a:buChar char="̶"/>
              <a:defRPr/>
            </a:lvl2pPr>
            <a:lvl3pPr marL="972562" indent="-237737">
              <a:defRPr/>
            </a:lvl3pPr>
            <a:lvl4pPr marL="1264331" indent="-237737">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2" y="1495451"/>
            <a:ext cx="9857879" cy="460353"/>
          </a:xfrm>
        </p:spPr>
        <p:txBody>
          <a:bodyPr/>
          <a:lstStyle>
            <a:lvl1pPr marL="0" indent="0">
              <a:buNone/>
              <a:defRPr sz="3063"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333203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Content &amp; Leadline">
    <p:spTree>
      <p:nvGrpSpPr>
        <p:cNvPr id="1" name=""/>
        <p:cNvGrpSpPr/>
        <p:nvPr/>
      </p:nvGrpSpPr>
      <p:grpSpPr>
        <a:xfrm>
          <a:off x="0" y="0"/>
          <a:ext cx="0" cy="0"/>
          <a:chOff x="0" y="0"/>
          <a:chExt cx="0" cy="0"/>
        </a:xfrm>
      </p:grpSpPr>
      <p:sp>
        <p:nvSpPr>
          <p:cNvPr id="7" name="Freeform 6"/>
          <p:cNvSpPr/>
          <p:nvPr userDrawn="1"/>
        </p:nvSpPr>
        <p:spPr>
          <a:xfrm>
            <a:off x="-1022" y="-12073"/>
            <a:ext cx="12223287" cy="1578395"/>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84" dirty="0">
              <a:solidFill>
                <a:schemeClr val="tx2">
                  <a:lumMod val="50000"/>
                </a:schemeClr>
              </a:solidFill>
            </a:endParaRPr>
          </a:p>
        </p:txBody>
      </p:sp>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3403">
                <a:solidFill>
                  <a:schemeClr val="bg1"/>
                </a:solidFill>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955801"/>
            <a:ext cx="11793979" cy="4026560"/>
          </a:xfrm>
        </p:spPr>
        <p:txBody>
          <a:bodyPr/>
          <a:lstStyle>
            <a:lvl1pPr>
              <a:buClr>
                <a:schemeClr val="accent2"/>
              </a:buClr>
              <a:defRPr b="0"/>
            </a:lvl1pPr>
            <a:lvl2pPr marL="680793" indent="-262052">
              <a:buFont typeface="Arial" panose="020B0604020202020204" pitchFamily="34" charset="0"/>
              <a:buChar char="̶"/>
              <a:defRPr/>
            </a:lvl2pPr>
            <a:lvl3pPr marL="972562" indent="-237737">
              <a:defRPr/>
            </a:lvl3pPr>
            <a:lvl4pPr marL="1264331" indent="-237737">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0" y="1495451"/>
            <a:ext cx="11813715" cy="460353"/>
          </a:xfrm>
        </p:spPr>
        <p:txBody>
          <a:bodyPr/>
          <a:lstStyle>
            <a:lvl1pPr marL="0" indent="0">
              <a:buNone/>
              <a:defRPr sz="3063"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465791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1">
    <p:bg>
      <p:bgPr>
        <a:solidFill>
          <a:srgbClr val="EDEDED"/>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 y="2"/>
          <a:ext cx="195384" cy="158751"/>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 y="2"/>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910130" y="2332817"/>
            <a:ext cx="5858540" cy="1159934"/>
          </a:xfrm>
        </p:spPr>
        <p:txBody>
          <a:bodyPr lIns="0" tIns="0" rIns="0" bIns="0" anchor="b">
            <a:normAutofit/>
          </a:bodyPr>
          <a:lstStyle>
            <a:lvl1pPr marL="0" indent="0" algn="r">
              <a:lnSpc>
                <a:spcPct val="100000"/>
              </a:lnSpc>
              <a:buNone/>
              <a:defRPr sz="4765">
                <a:solidFill>
                  <a:srgbClr val="2B0A3D"/>
                </a:solidFill>
                <a:latin typeface="Segoe UI" panose="020B0502040204020203" pitchFamily="34" charset="0"/>
                <a:ea typeface="Verdana" panose="020B0604030504040204" pitchFamily="34" charset="0"/>
                <a:cs typeface="Segoe UI" panose="020B0502040204020203" pitchFamily="34" charset="0"/>
              </a:defRPr>
            </a:lvl1pPr>
            <a:lvl2pPr>
              <a:defRPr sz="3063">
                <a:solidFill>
                  <a:schemeClr val="bg1"/>
                </a:solidFill>
              </a:defRPr>
            </a:lvl2pPr>
          </a:lstStyle>
          <a:p>
            <a:pPr lvl="0"/>
            <a:r>
              <a:rPr lang="en-US" dirty="0"/>
              <a:t>Click to insert title</a:t>
            </a:r>
            <a:endParaRPr lang="pt-PT" dirty="0"/>
          </a:p>
        </p:txBody>
      </p:sp>
      <p:sp>
        <p:nvSpPr>
          <p:cNvPr id="1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6797041" y="3646102"/>
            <a:ext cx="4971628" cy="1595120"/>
          </a:xfrm>
        </p:spPr>
        <p:txBody>
          <a:bodyPr lIns="0" tIns="0" rIns="0" bIns="0">
            <a:normAutofit/>
          </a:bodyPr>
          <a:lstStyle>
            <a:lvl1pPr marL="0" indent="0" algn="r">
              <a:lnSpc>
                <a:spcPct val="100000"/>
              </a:lnSpc>
              <a:buNone/>
              <a:defRPr sz="2723">
                <a:solidFill>
                  <a:schemeClr val="accent2"/>
                </a:solidFill>
                <a:latin typeface="Segoe UI" panose="020B0502040204020203" pitchFamily="34" charset="0"/>
                <a:ea typeface="Verdana" panose="020B0604030504040204" pitchFamily="34" charset="0"/>
                <a:cs typeface="Segoe UI" panose="020B0502040204020203" pitchFamily="34" charset="0"/>
              </a:defRPr>
            </a:lvl1pPr>
            <a:lvl2pPr>
              <a:defRPr sz="2042">
                <a:solidFill>
                  <a:schemeClr val="bg1"/>
                </a:solidFill>
              </a:defRPr>
            </a:lvl2pPr>
          </a:lstStyle>
          <a:p>
            <a:pPr lvl="0"/>
            <a:r>
              <a:rPr lang="en-US" dirty="0"/>
              <a:t>Click to insert presenter, location, and date</a:t>
            </a:r>
            <a:endParaRPr lang="pt-PT" dirty="0"/>
          </a:p>
        </p:txBody>
      </p:sp>
      <p:grpSp>
        <p:nvGrpSpPr>
          <p:cNvPr id="6" name="Group 5"/>
          <p:cNvGrpSpPr/>
          <p:nvPr userDrawn="1"/>
        </p:nvGrpSpPr>
        <p:grpSpPr>
          <a:xfrm>
            <a:off x="-20320" y="1518980"/>
            <a:ext cx="6098123" cy="5345086"/>
            <a:chOff x="-15240" y="1173480"/>
            <a:chExt cx="6485378" cy="5684520"/>
          </a:xfrm>
        </p:grpSpPr>
        <p:grpSp>
          <p:nvGrpSpPr>
            <p:cNvPr id="12" name="Group 11"/>
            <p:cNvGrpSpPr/>
            <p:nvPr userDrawn="1"/>
          </p:nvGrpSpPr>
          <p:grpSpPr>
            <a:xfrm rot="16200000" flipV="1">
              <a:off x="385189" y="773051"/>
              <a:ext cx="5684520" cy="6485378"/>
              <a:chOff x="5470" y="2234087"/>
              <a:chExt cx="4052922" cy="4623913"/>
            </a:xfrm>
          </p:grpSpPr>
          <p:sp>
            <p:nvSpPr>
              <p:cNvPr id="13" name="Freeform 12"/>
              <p:cNvSpPr/>
              <p:nvPr userDrawn="1"/>
            </p:nvSpPr>
            <p:spPr>
              <a:xfrm>
                <a:off x="10084" y="2234087"/>
                <a:ext cx="3659796" cy="2995332"/>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Lst>
                <a:ahLst/>
                <a:cxnLst>
                  <a:cxn ang="0">
                    <a:pos x="connsiteX0" y="connsiteY0"/>
                  </a:cxn>
                  <a:cxn ang="0">
                    <a:pos x="connsiteX1" y="connsiteY1"/>
                  </a:cxn>
                  <a:cxn ang="0">
                    <a:pos x="connsiteX2" y="connsiteY2"/>
                  </a:cxn>
                  <a:cxn ang="0">
                    <a:pos x="connsiteX3" y="connsiteY3"/>
                  </a:cxn>
                </a:cxnLst>
                <a:rect l="l" t="t" r="r" b="b"/>
                <a:pathLst>
                  <a:path w="3659796" h="2837683">
                    <a:moveTo>
                      <a:pt x="3659796" y="1783924"/>
                    </a:moveTo>
                    <a:cubicBezTo>
                      <a:pt x="2347587" y="893468"/>
                      <a:pt x="1251698" y="495536"/>
                      <a:pt x="0" y="0"/>
                    </a:cubicBezTo>
                    <a:cubicBezTo>
                      <a:pt x="2241" y="948018"/>
                      <a:pt x="4483" y="1889665"/>
                      <a:pt x="6724" y="2837683"/>
                    </a:cubicBezTo>
                    <a:lnTo>
                      <a:pt x="3659796" y="178392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sp>
            <p:nvSpPr>
              <p:cNvPr id="14" name="Freeform 13"/>
              <p:cNvSpPr/>
              <p:nvPr userDrawn="1"/>
            </p:nvSpPr>
            <p:spPr>
              <a:xfrm>
                <a:off x="5470" y="3922052"/>
                <a:ext cx="4052922" cy="2935948"/>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2922" h="2935948">
                    <a:moveTo>
                      <a:pt x="3578226" y="2935948"/>
                    </a:moveTo>
                    <a:lnTo>
                      <a:pt x="0" y="2927075"/>
                    </a:lnTo>
                    <a:cubicBezTo>
                      <a:pt x="4997" y="2150085"/>
                      <a:pt x="4523" y="1351216"/>
                      <a:pt x="9520" y="574226"/>
                    </a:cubicBezTo>
                    <a:lnTo>
                      <a:pt x="292514" y="976370"/>
                    </a:lnTo>
                    <a:cubicBezTo>
                      <a:pt x="1181802" y="1226354"/>
                      <a:pt x="2622566" y="-407363"/>
                      <a:pt x="3526532" y="97407"/>
                    </a:cubicBezTo>
                    <a:cubicBezTo>
                      <a:pt x="4430498" y="602177"/>
                      <a:pt x="3980095" y="2347234"/>
                      <a:pt x="3578226"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grpSp>
        <p:pic>
          <p:nvPicPr>
            <p:cNvPr id="17"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7072" r="38344"/>
            <a:stretch/>
          </p:blipFill>
          <p:spPr>
            <a:xfrm>
              <a:off x="0" y="1520686"/>
              <a:ext cx="5177971" cy="5337313"/>
            </a:xfrm>
            <a:prstGeom prst="rect">
              <a:avLst/>
            </a:prstGeom>
          </p:spPr>
        </p:pic>
      </p:grpSp>
      <p:pic>
        <p:nvPicPr>
          <p:cNvPr id="19"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43986" y="539754"/>
            <a:ext cx="3087428" cy="688815"/>
          </a:xfrm>
          <a:prstGeom prst="rect">
            <a:avLst/>
          </a:prstGeom>
        </p:spPr>
      </p:pic>
    </p:spTree>
    <p:extLst>
      <p:ext uri="{BB962C8B-B14F-4D97-AF65-F5344CB8AC3E}">
        <p14:creationId xmlns:p14="http://schemas.microsoft.com/office/powerpoint/2010/main" val="14781877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ontent Master">
    <p:bg>
      <p:bgPr>
        <a:solidFill>
          <a:schemeClr val="bg1"/>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16121" y="1"/>
            <a:ext cx="5818953" cy="6858000"/>
            <a:chOff x="-12091" y="-1"/>
            <a:chExt cx="4907046" cy="5783260"/>
          </a:xfrm>
        </p:grpSpPr>
        <p:sp>
          <p:nvSpPr>
            <p:cNvPr id="5" name="Rectangle 4">
              <a:extLst>
                <a:ext uri="{FF2B5EF4-FFF2-40B4-BE49-F238E27FC236}">
                  <a16:creationId xmlns:a16="http://schemas.microsoft.com/office/drawing/2014/main" id="{9455EBB8-DB3C-45D2-B02F-0B36A58E555B}"/>
                </a:ext>
              </a:extLst>
            </p:cNvPr>
            <p:cNvSpPr/>
            <p:nvPr userDrawn="1"/>
          </p:nvSpPr>
          <p:spPr>
            <a:xfrm>
              <a:off x="-1" y="0"/>
              <a:ext cx="3845326" cy="5783259"/>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5524"/>
            </a:p>
          </p:txBody>
        </p:sp>
        <p:sp>
          <p:nvSpPr>
            <p:cNvPr id="7" name="Freeform 13"/>
            <p:cNvSpPr>
              <a:spLocks/>
            </p:cNvSpPr>
            <p:nvPr userDrawn="1"/>
          </p:nvSpPr>
          <p:spPr bwMode="auto">
            <a:xfrm>
              <a:off x="-12091" y="-1"/>
              <a:ext cx="4907046" cy="2458586"/>
            </a:xfrm>
            <a:custGeom>
              <a:avLst/>
              <a:gdLst>
                <a:gd name="T0" fmla="*/ 1586 w 1862"/>
                <a:gd name="T1" fmla="*/ 0 h 2254"/>
                <a:gd name="T2" fmla="*/ 1698 w 1862"/>
                <a:gd name="T3" fmla="*/ 966 h 2254"/>
                <a:gd name="T4" fmla="*/ 359 w 1862"/>
                <a:gd name="T5" fmla="*/ 2142 h 2254"/>
                <a:gd name="T6" fmla="*/ 0 w 1862"/>
                <a:gd name="T7" fmla="*/ 2025 h 2254"/>
                <a:gd name="T8" fmla="*/ 0 w 1862"/>
                <a:gd name="T9" fmla="*/ 0 h 2254"/>
                <a:gd name="T10" fmla="*/ 1586 w 1862"/>
                <a:gd name="T11" fmla="*/ 0 h 2254"/>
                <a:gd name="connsiteX0" fmla="*/ 8542 w 9422"/>
                <a:gd name="connsiteY0" fmla="*/ 28 h 9647"/>
                <a:gd name="connsiteX1" fmla="*/ 9143 w 9422"/>
                <a:gd name="connsiteY1" fmla="*/ 4314 h 9647"/>
                <a:gd name="connsiteX2" fmla="*/ 1952 w 9422"/>
                <a:gd name="connsiteY2" fmla="*/ 9531 h 9647"/>
                <a:gd name="connsiteX3" fmla="*/ 0 w 9422"/>
                <a:gd name="connsiteY3" fmla="*/ 8063 h 9647"/>
                <a:gd name="connsiteX4" fmla="*/ 24 w 9422"/>
                <a:gd name="connsiteY4" fmla="*/ 28 h 9647"/>
                <a:gd name="connsiteX5" fmla="*/ 8542 w 9422"/>
                <a:gd name="connsiteY5" fmla="*/ 28 h 9647"/>
                <a:gd name="connsiteX0" fmla="*/ 9066 w 10000"/>
                <a:gd name="connsiteY0" fmla="*/ 0 h 9971"/>
                <a:gd name="connsiteX1" fmla="*/ 9704 w 10000"/>
                <a:gd name="connsiteY1" fmla="*/ 4443 h 9971"/>
                <a:gd name="connsiteX2" fmla="*/ 2072 w 10000"/>
                <a:gd name="connsiteY2" fmla="*/ 9851 h 9971"/>
                <a:gd name="connsiteX3" fmla="*/ 0 w 10000"/>
                <a:gd name="connsiteY3" fmla="*/ 8329 h 9971"/>
                <a:gd name="connsiteX4" fmla="*/ 25 w 10000"/>
                <a:gd name="connsiteY4" fmla="*/ 0 h 9971"/>
                <a:gd name="connsiteX5" fmla="*/ 9066 w 10000"/>
                <a:gd name="connsiteY5" fmla="*/ 0 h 9971"/>
                <a:gd name="connsiteX0" fmla="*/ 9066 w 10000"/>
                <a:gd name="connsiteY0" fmla="*/ 0 h 9813"/>
                <a:gd name="connsiteX1" fmla="*/ 9704 w 10000"/>
                <a:gd name="connsiteY1" fmla="*/ 4456 h 9813"/>
                <a:gd name="connsiteX2" fmla="*/ 3628 w 10000"/>
                <a:gd name="connsiteY2" fmla="*/ 9813 h 9813"/>
                <a:gd name="connsiteX3" fmla="*/ 0 w 10000"/>
                <a:gd name="connsiteY3" fmla="*/ 8353 h 9813"/>
                <a:gd name="connsiteX4" fmla="*/ 25 w 10000"/>
                <a:gd name="connsiteY4" fmla="*/ 0 h 9813"/>
                <a:gd name="connsiteX5" fmla="*/ 9066 w 10000"/>
                <a:gd name="connsiteY5" fmla="*/ 0 h 9813"/>
                <a:gd name="connsiteX0" fmla="*/ 9066 w 10067"/>
                <a:gd name="connsiteY0" fmla="*/ 0 h 10060"/>
                <a:gd name="connsiteX1" fmla="*/ 9781 w 10067"/>
                <a:gd name="connsiteY1" fmla="*/ 6349 h 10060"/>
                <a:gd name="connsiteX2" fmla="*/ 3628 w 10067"/>
                <a:gd name="connsiteY2" fmla="*/ 10000 h 10060"/>
                <a:gd name="connsiteX3" fmla="*/ 0 w 10067"/>
                <a:gd name="connsiteY3" fmla="*/ 8512 h 10060"/>
                <a:gd name="connsiteX4" fmla="*/ 25 w 10067"/>
                <a:gd name="connsiteY4" fmla="*/ 0 h 10060"/>
                <a:gd name="connsiteX5" fmla="*/ 9066 w 10067"/>
                <a:gd name="connsiteY5" fmla="*/ 0 h 10060"/>
                <a:gd name="connsiteX0" fmla="*/ 9092 w 10071"/>
                <a:gd name="connsiteY0" fmla="*/ 0 h 10060"/>
                <a:gd name="connsiteX1" fmla="*/ 9781 w 10071"/>
                <a:gd name="connsiteY1" fmla="*/ 6349 h 10060"/>
                <a:gd name="connsiteX2" fmla="*/ 3628 w 10071"/>
                <a:gd name="connsiteY2" fmla="*/ 10000 h 10060"/>
                <a:gd name="connsiteX3" fmla="*/ 0 w 10071"/>
                <a:gd name="connsiteY3" fmla="*/ 8512 h 10060"/>
                <a:gd name="connsiteX4" fmla="*/ 25 w 10071"/>
                <a:gd name="connsiteY4" fmla="*/ 0 h 10060"/>
                <a:gd name="connsiteX5" fmla="*/ 9092 w 10071"/>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54"/>
                <a:gd name="connsiteX1" fmla="*/ 9781 w 10337"/>
                <a:gd name="connsiteY1" fmla="*/ 6349 h 10054"/>
                <a:gd name="connsiteX2" fmla="*/ 3628 w 10337"/>
                <a:gd name="connsiteY2" fmla="*/ 10000 h 10054"/>
                <a:gd name="connsiteX3" fmla="*/ 0 w 10337"/>
                <a:gd name="connsiteY3" fmla="*/ 8512 h 10054"/>
                <a:gd name="connsiteX4" fmla="*/ 25 w 10337"/>
                <a:gd name="connsiteY4" fmla="*/ 0 h 10054"/>
                <a:gd name="connsiteX5" fmla="*/ 9092 w 10337"/>
                <a:gd name="connsiteY5" fmla="*/ 0 h 10054"/>
                <a:gd name="connsiteX0" fmla="*/ 9092 w 10337"/>
                <a:gd name="connsiteY0" fmla="*/ 0 h 10104"/>
                <a:gd name="connsiteX1" fmla="*/ 9781 w 10337"/>
                <a:gd name="connsiteY1" fmla="*/ 6349 h 10104"/>
                <a:gd name="connsiteX2" fmla="*/ 3628 w 10337"/>
                <a:gd name="connsiteY2" fmla="*/ 10000 h 10104"/>
                <a:gd name="connsiteX3" fmla="*/ 0 w 10337"/>
                <a:gd name="connsiteY3" fmla="*/ 8512 h 10104"/>
                <a:gd name="connsiteX4" fmla="*/ 25 w 10337"/>
                <a:gd name="connsiteY4" fmla="*/ 0 h 10104"/>
                <a:gd name="connsiteX5" fmla="*/ 9092 w 10337"/>
                <a:gd name="connsiteY5" fmla="*/ 0 h 10104"/>
                <a:gd name="connsiteX0" fmla="*/ 9092 w 10337"/>
                <a:gd name="connsiteY0" fmla="*/ 0 h 10268"/>
                <a:gd name="connsiteX1" fmla="*/ 9781 w 10337"/>
                <a:gd name="connsiteY1" fmla="*/ 6349 h 10268"/>
                <a:gd name="connsiteX2" fmla="*/ 3475 w 10337"/>
                <a:gd name="connsiteY2" fmla="*/ 10181 h 10268"/>
                <a:gd name="connsiteX3" fmla="*/ 0 w 10337"/>
                <a:gd name="connsiteY3" fmla="*/ 8512 h 10268"/>
                <a:gd name="connsiteX4" fmla="*/ 25 w 10337"/>
                <a:gd name="connsiteY4" fmla="*/ 0 h 10268"/>
                <a:gd name="connsiteX5" fmla="*/ 9092 w 10337"/>
                <a:gd name="connsiteY5" fmla="*/ 0 h 10268"/>
                <a:gd name="connsiteX0" fmla="*/ 9092 w 10337"/>
                <a:gd name="connsiteY0" fmla="*/ 0 h 10260"/>
                <a:gd name="connsiteX1" fmla="*/ 9781 w 10337"/>
                <a:gd name="connsiteY1" fmla="*/ 6349 h 10260"/>
                <a:gd name="connsiteX2" fmla="*/ 3475 w 10337"/>
                <a:gd name="connsiteY2" fmla="*/ 10181 h 10260"/>
                <a:gd name="connsiteX3" fmla="*/ 0 w 10337"/>
                <a:gd name="connsiteY3" fmla="*/ 8512 h 10260"/>
                <a:gd name="connsiteX4" fmla="*/ 25 w 10337"/>
                <a:gd name="connsiteY4" fmla="*/ 0 h 10260"/>
                <a:gd name="connsiteX5" fmla="*/ 9092 w 10337"/>
                <a:gd name="connsiteY5" fmla="*/ 0 h 10260"/>
                <a:gd name="connsiteX0" fmla="*/ 9092 w 10337"/>
                <a:gd name="connsiteY0" fmla="*/ 0 h 10247"/>
                <a:gd name="connsiteX1" fmla="*/ 9781 w 10337"/>
                <a:gd name="connsiteY1" fmla="*/ 6349 h 10247"/>
                <a:gd name="connsiteX2" fmla="*/ 3475 w 10337"/>
                <a:gd name="connsiteY2" fmla="*/ 10181 h 10247"/>
                <a:gd name="connsiteX3" fmla="*/ 0 w 10337"/>
                <a:gd name="connsiteY3" fmla="*/ 8512 h 10247"/>
                <a:gd name="connsiteX4" fmla="*/ 25 w 10337"/>
                <a:gd name="connsiteY4" fmla="*/ 0 h 10247"/>
                <a:gd name="connsiteX5" fmla="*/ 9092 w 10337"/>
                <a:gd name="connsiteY5" fmla="*/ 0 h 10247"/>
                <a:gd name="connsiteX0" fmla="*/ 9092 w 10337"/>
                <a:gd name="connsiteY0" fmla="*/ 0 h 10284"/>
                <a:gd name="connsiteX1" fmla="*/ 9781 w 10337"/>
                <a:gd name="connsiteY1" fmla="*/ 6349 h 10284"/>
                <a:gd name="connsiteX2" fmla="*/ 3475 w 10337"/>
                <a:gd name="connsiteY2" fmla="*/ 10181 h 10284"/>
                <a:gd name="connsiteX3" fmla="*/ 0 w 10337"/>
                <a:gd name="connsiteY3" fmla="*/ 8512 h 10284"/>
                <a:gd name="connsiteX4" fmla="*/ 25 w 10337"/>
                <a:gd name="connsiteY4" fmla="*/ 0 h 10284"/>
                <a:gd name="connsiteX5" fmla="*/ 9092 w 10337"/>
                <a:gd name="connsiteY5" fmla="*/ 0 h 10284"/>
                <a:gd name="connsiteX0" fmla="*/ 9092 w 10337"/>
                <a:gd name="connsiteY0" fmla="*/ 0 h 10323"/>
                <a:gd name="connsiteX1" fmla="*/ 9781 w 10337"/>
                <a:gd name="connsiteY1" fmla="*/ 6349 h 10323"/>
                <a:gd name="connsiteX2" fmla="*/ 3475 w 10337"/>
                <a:gd name="connsiteY2" fmla="*/ 10181 h 10323"/>
                <a:gd name="connsiteX3" fmla="*/ 0 w 10337"/>
                <a:gd name="connsiteY3" fmla="*/ 8512 h 10323"/>
                <a:gd name="connsiteX4" fmla="*/ 25 w 10337"/>
                <a:gd name="connsiteY4" fmla="*/ 0 h 10323"/>
                <a:gd name="connsiteX5" fmla="*/ 9092 w 10337"/>
                <a:gd name="connsiteY5" fmla="*/ 0 h 10323"/>
                <a:gd name="connsiteX0" fmla="*/ 9092 w 10337"/>
                <a:gd name="connsiteY0" fmla="*/ 0 h 10351"/>
                <a:gd name="connsiteX1" fmla="*/ 9781 w 10337"/>
                <a:gd name="connsiteY1" fmla="*/ 6349 h 10351"/>
                <a:gd name="connsiteX2" fmla="*/ 3475 w 10337"/>
                <a:gd name="connsiteY2" fmla="*/ 10181 h 10351"/>
                <a:gd name="connsiteX3" fmla="*/ 0 w 10337"/>
                <a:gd name="connsiteY3" fmla="*/ 8512 h 10351"/>
                <a:gd name="connsiteX4" fmla="*/ 25 w 10337"/>
                <a:gd name="connsiteY4" fmla="*/ 0 h 10351"/>
                <a:gd name="connsiteX5" fmla="*/ 9092 w 10337"/>
                <a:gd name="connsiteY5" fmla="*/ 0 h 10351"/>
                <a:gd name="connsiteX0" fmla="*/ 9092 w 10337"/>
                <a:gd name="connsiteY0" fmla="*/ 0 h 10305"/>
                <a:gd name="connsiteX1" fmla="*/ 9781 w 10337"/>
                <a:gd name="connsiteY1" fmla="*/ 6349 h 10305"/>
                <a:gd name="connsiteX2" fmla="*/ 3475 w 10337"/>
                <a:gd name="connsiteY2" fmla="*/ 10181 h 10305"/>
                <a:gd name="connsiteX3" fmla="*/ 0 w 10337"/>
                <a:gd name="connsiteY3" fmla="*/ 8512 h 10305"/>
                <a:gd name="connsiteX4" fmla="*/ 25 w 10337"/>
                <a:gd name="connsiteY4" fmla="*/ 0 h 10305"/>
                <a:gd name="connsiteX5" fmla="*/ 9092 w 10337"/>
                <a:gd name="connsiteY5" fmla="*/ 0 h 10305"/>
                <a:gd name="connsiteX0" fmla="*/ 9092 w 10337"/>
                <a:gd name="connsiteY0" fmla="*/ 0 h 10300"/>
                <a:gd name="connsiteX1" fmla="*/ 9781 w 10337"/>
                <a:gd name="connsiteY1" fmla="*/ 6349 h 10300"/>
                <a:gd name="connsiteX2" fmla="*/ 3475 w 10337"/>
                <a:gd name="connsiteY2" fmla="*/ 10181 h 10300"/>
                <a:gd name="connsiteX3" fmla="*/ 0 w 10337"/>
                <a:gd name="connsiteY3" fmla="*/ 8512 h 10300"/>
                <a:gd name="connsiteX4" fmla="*/ 25 w 10337"/>
                <a:gd name="connsiteY4" fmla="*/ 0 h 10300"/>
                <a:gd name="connsiteX5" fmla="*/ 9092 w 10337"/>
                <a:gd name="connsiteY5" fmla="*/ 0 h 1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7" h="10300">
                  <a:moveTo>
                    <a:pt x="9092" y="0"/>
                  </a:moveTo>
                  <a:cubicBezTo>
                    <a:pt x="9092" y="0"/>
                    <a:pt x="11354" y="3877"/>
                    <a:pt x="9781" y="6349"/>
                  </a:cubicBezTo>
                  <a:cubicBezTo>
                    <a:pt x="8153" y="5258"/>
                    <a:pt x="5566" y="9748"/>
                    <a:pt x="3475" y="10181"/>
                  </a:cubicBezTo>
                  <a:cubicBezTo>
                    <a:pt x="1713" y="10546"/>
                    <a:pt x="967" y="10094"/>
                    <a:pt x="0" y="8512"/>
                  </a:cubicBezTo>
                  <a:cubicBezTo>
                    <a:pt x="13" y="2254"/>
                    <a:pt x="25" y="0"/>
                    <a:pt x="25" y="0"/>
                  </a:cubicBezTo>
                  <a:lnTo>
                    <a:pt x="9092"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5524" dirty="0"/>
            </a:p>
          </p:txBody>
        </p:sp>
      </p:grpSp>
      <p:sp>
        <p:nvSpPr>
          <p:cNvPr id="6"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7" y="3089438"/>
            <a:ext cx="3670827" cy="3589368"/>
          </a:xfrm>
          <a:prstGeom prst="rect">
            <a:avLst/>
          </a:prstGeom>
        </p:spPr>
        <p:txBody>
          <a:bodyPr>
            <a:noAutofit/>
          </a:bodyPr>
          <a:lstStyle>
            <a:lvl1pPr>
              <a:lnSpc>
                <a:spcPts val="2808"/>
              </a:lnSpc>
              <a:defRPr sz="2297"/>
            </a:lvl1pPr>
            <a:lvl2pPr>
              <a:lnSpc>
                <a:spcPts val="2297"/>
              </a:lnSpc>
              <a:buClr>
                <a:schemeClr val="accent3"/>
              </a:buClr>
              <a:defRPr sz="2042"/>
            </a:lvl2pPr>
            <a:lvl3pPr>
              <a:lnSpc>
                <a:spcPts val="2042"/>
              </a:lnSpc>
              <a:buClr>
                <a:schemeClr val="accent3"/>
              </a:buClr>
              <a:defRPr sz="1787"/>
            </a:lvl3pPr>
            <a:lvl4pPr>
              <a:lnSpc>
                <a:spcPts val="1787"/>
              </a:lnSpc>
              <a:buClr>
                <a:schemeClr val="accent3"/>
              </a:buClr>
              <a:defRPr sz="1532"/>
            </a:lvl4pPr>
            <a:lvl5pPr>
              <a:lnSpc>
                <a:spcPct val="100000"/>
              </a:lnSpc>
              <a:defRPr sz="1532"/>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a:xfrm>
            <a:off x="3" y="1"/>
            <a:ext cx="5318927" cy="1062180"/>
          </a:xfrm>
        </p:spPr>
        <p:txBody>
          <a:bodyPr tIns="274320" anchor="t"/>
          <a:lstStyle>
            <a:lvl1pPr>
              <a:defRPr sz="3403">
                <a:solidFill>
                  <a:schemeClr val="bg1"/>
                </a:solidFill>
              </a:defRPr>
            </a:lvl1pPr>
          </a:lstStyle>
          <a:p>
            <a:r>
              <a:rPr lang="en-US" noProof="0" dirty="0"/>
              <a:t>Click to edit Master title style</a:t>
            </a:r>
            <a:endParaRPr lang="en-US"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333051" y="251520"/>
            <a:ext cx="565808" cy="612832"/>
          </a:xfrm>
          <a:prstGeom prst="rect">
            <a:avLst/>
          </a:prstGeom>
        </p:spPr>
      </p:pic>
    </p:spTree>
    <p:extLst>
      <p:ext uri="{BB962C8B-B14F-4D97-AF65-F5344CB8AC3E}">
        <p14:creationId xmlns:p14="http://schemas.microsoft.com/office/powerpoint/2010/main" val="26146975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Vide">
    <p:bg>
      <p:bgPr>
        <a:solidFill>
          <a:srgbClr val="EDEDED"/>
        </a:solidFill>
        <a:effectLst/>
      </p:bgPr>
    </p:bg>
    <p:spTree>
      <p:nvGrpSpPr>
        <p:cNvPr id="1" name=""/>
        <p:cNvGrpSpPr/>
        <p:nvPr/>
      </p:nvGrpSpPr>
      <p:grpSpPr>
        <a:xfrm>
          <a:off x="0" y="0"/>
          <a:ext cx="0" cy="0"/>
          <a:chOff x="0" y="0"/>
          <a:chExt cx="0" cy="0"/>
        </a:xfrm>
      </p:grpSpPr>
      <p:sp>
        <p:nvSpPr>
          <p:cNvPr id="23" name="Rectangle 22"/>
          <p:cNvSpPr/>
          <p:nvPr userDrawn="1"/>
        </p:nvSpPr>
        <p:spPr>
          <a:xfrm>
            <a:off x="2" y="1"/>
            <a:ext cx="175678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84" dirty="0">
              <a:solidFill>
                <a:schemeClr val="tx2">
                  <a:lumMod val="50000"/>
                </a:schemeClr>
              </a:solidFill>
              <a:latin typeface="Segoe UI" panose="020B0502040204020203" pitchFamily="34" charset="0"/>
              <a:cs typeface="Segoe UI" panose="020B0502040204020203" pitchFamily="34" charset="0"/>
            </a:endParaRPr>
          </a:p>
        </p:txBody>
      </p:sp>
      <p:graphicFrame>
        <p:nvGraphicFramePr>
          <p:cNvPr id="2" name="Object 1"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6657881" y="2524336"/>
            <a:ext cx="4784284"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Segoe UI" panose="020B0502040204020203" pitchFamily="34" charset="0"/>
                <a:ea typeface="+mn-ea"/>
                <a:cs typeface="Segoe UI" panose="020B0502040204020203"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userDrawn="1"/>
        </p:nvSpPr>
        <p:spPr>
          <a:xfrm>
            <a:off x="6657880" y="2018367"/>
            <a:ext cx="2905099" cy="309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553"/>
              </a:lnSpc>
            </a:pPr>
            <a:r>
              <a:rPr lang="en-US" sz="2042" b="1" dirty="0">
                <a:solidFill>
                  <a:schemeClr val="tx2"/>
                </a:solidFill>
                <a:latin typeface="Segoe UI" panose="020B0502040204020203" pitchFamily="34" charset="0"/>
                <a:ea typeface="Verdana" panose="020B0604030504040204" pitchFamily="34" charset="0"/>
                <a:cs typeface="Segoe UI" panose="020B0502040204020203" pitchFamily="34" charset="0"/>
              </a:rPr>
              <a:t>About Capgemini</a:t>
            </a:r>
          </a:p>
        </p:txBody>
      </p:sp>
      <p:sp>
        <p:nvSpPr>
          <p:cNvPr id="10" name="Rectangle 9"/>
          <p:cNvSpPr/>
          <p:nvPr userDrawn="1"/>
        </p:nvSpPr>
        <p:spPr>
          <a:xfrm>
            <a:off x="6657881" y="4973900"/>
            <a:ext cx="3468944"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532"/>
              </a:lnSpc>
              <a:spcAft>
                <a:spcPts val="766"/>
              </a:spcAft>
            </a:pPr>
            <a:r>
              <a:rPr lang="en-US" sz="1532" dirty="0">
                <a:solidFill>
                  <a:schemeClr val="tx1"/>
                </a:solidFill>
                <a:latin typeface="Segoe UI" panose="020B0502040204020203" pitchFamily="34" charset="0"/>
                <a:ea typeface="Verdana" panose="020B0604030504040204" pitchFamily="34" charset="0"/>
                <a:cs typeface="Segoe UI" panose="020B0502040204020203" pitchFamily="34" charset="0"/>
              </a:rPr>
              <a:t>Learn more about us at</a:t>
            </a:r>
          </a:p>
          <a:p>
            <a:pPr algn="just">
              <a:lnSpc>
                <a:spcPts val="1532"/>
              </a:lnSpc>
            </a:pPr>
            <a:r>
              <a:rPr lang="en-US" sz="2382" dirty="0">
                <a:solidFill>
                  <a:schemeClr val="accent2"/>
                </a:solidFill>
                <a:latin typeface="Segoe UI" panose="020B0502040204020203" pitchFamily="34" charset="0"/>
                <a:ea typeface="Verdana" panose="020B0604030504040204" pitchFamily="34" charset="0"/>
                <a:cs typeface="Segoe UI" panose="020B0502040204020203" pitchFamily="34" charset="0"/>
              </a:rPr>
              <a:t>www.capgemini.com</a:t>
            </a:r>
          </a:p>
        </p:txBody>
      </p:sp>
      <p:sp>
        <p:nvSpPr>
          <p:cNvPr id="17" name="Rectangle 16"/>
          <p:cNvSpPr/>
          <p:nvPr userDrawn="1"/>
        </p:nvSpPr>
        <p:spPr>
          <a:xfrm>
            <a:off x="6657881" y="6247770"/>
            <a:ext cx="5213580" cy="369332"/>
          </a:xfrm>
          <a:prstGeom prst="rect">
            <a:avLst/>
          </a:prstGeom>
        </p:spPr>
        <p:txBody>
          <a:bodyPr wrap="square" lIns="0" tIns="0" rIns="0" bIns="0" anchor="b" anchorCtr="0">
            <a:spAutoFit/>
          </a:bodyPr>
          <a:lstStyle/>
          <a:p>
            <a:pPr>
              <a:spcAft>
                <a:spcPts val="766"/>
              </a:spcAft>
            </a:pPr>
            <a:r>
              <a:rPr lang="en-US" sz="800" dirty="0">
                <a:latin typeface="Segoe UI" panose="020B0502040204020203" pitchFamily="34" charset="0"/>
                <a:ea typeface="Verdana" panose="020B0604030504040204" pitchFamily="34" charset="0"/>
                <a:cs typeface="Segoe UI" panose="020B0502040204020203"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5"/>
          </p:cNvPr>
          <p:cNvSpPr/>
          <p:nvPr userDrawn="1"/>
        </p:nvSpPr>
        <p:spPr>
          <a:xfrm>
            <a:off x="11956320" y="5079047"/>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6708" tIns="58354" rIns="116708" bIns="58354" rtlCol="0" anchor="ctr"/>
          <a:lstStyle/>
          <a:p>
            <a:pPr algn="ctr"/>
            <a:endParaRPr lang="en-GB" sz="3063" dirty="0">
              <a:latin typeface="Segoe UI" panose="020B0502040204020203" pitchFamily="34" charset="0"/>
              <a:cs typeface="Segoe UI" panose="020B0502040204020203" pitchFamily="34" charset="0"/>
            </a:endParaRPr>
          </a:p>
        </p:txBody>
      </p:sp>
      <p:sp>
        <p:nvSpPr>
          <p:cNvPr id="4" name="Freeform 5"/>
          <p:cNvSpPr>
            <a:spLocks/>
          </p:cNvSpPr>
          <p:nvPr userDrawn="1"/>
        </p:nvSpPr>
        <p:spPr bwMode="auto">
          <a:xfrm>
            <a:off x="1468503" y="-14552"/>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116708" tIns="58354" rIns="116708" bIns="58354" numCol="1" anchor="t" anchorCtr="0" compatLnSpc="1">
            <a:prstTxWarp prst="textNoShape">
              <a:avLst/>
            </a:prstTxWarp>
          </a:bodyPr>
          <a:lstStyle/>
          <a:p>
            <a:endParaRPr lang="en-US" sz="3063" dirty="0">
              <a:latin typeface="Segoe UI" panose="020B0502040204020203" pitchFamily="34" charset="0"/>
              <a:cs typeface="Segoe UI" panose="020B0502040204020203" pitchFamily="34" charset="0"/>
            </a:endParaRPr>
          </a:p>
        </p:txBody>
      </p:sp>
      <p:grpSp>
        <p:nvGrpSpPr>
          <p:cNvPr id="5" name="Group 4"/>
          <p:cNvGrpSpPr/>
          <p:nvPr userDrawn="1"/>
        </p:nvGrpSpPr>
        <p:grpSpPr>
          <a:xfrm>
            <a:off x="4938561" y="2397562"/>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63" dirty="0">
                <a:latin typeface="Segoe UI" panose="020B0502040204020203" pitchFamily="34" charset="0"/>
                <a:cs typeface="Segoe UI" panose="020B0502040204020203" pitchFamily="34" charset="0"/>
              </a:endParaRPr>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63" dirty="0">
                <a:latin typeface="Segoe UI" panose="020B0502040204020203" pitchFamily="34" charset="0"/>
                <a:cs typeface="Segoe UI" panose="020B0502040204020203" pitchFamily="34" charset="0"/>
              </a:endParaRPr>
            </a:p>
          </p:txBody>
        </p:sp>
      </p:grpSp>
      <p:sp>
        <p:nvSpPr>
          <p:cNvPr id="16" name="Rectangle 15"/>
          <p:cNvSpPr/>
          <p:nvPr userDrawn="1"/>
        </p:nvSpPr>
        <p:spPr>
          <a:xfrm>
            <a:off x="803871" y="5006599"/>
            <a:ext cx="3918376" cy="779701"/>
          </a:xfrm>
          <a:prstGeom prst="rect">
            <a:avLst/>
          </a:prstGeom>
        </p:spPr>
        <p:txBody>
          <a:bodyPr wrap="square" lIns="0" tIns="0" rIns="0" bIns="0" anchor="b" anchorCtr="0">
            <a:spAutoFit/>
          </a:bodyPr>
          <a:lstStyle/>
          <a:p>
            <a:pPr>
              <a:spcAft>
                <a:spcPts val="766"/>
              </a:spcAft>
            </a:pPr>
            <a:r>
              <a:rPr lang="en-US" sz="1100" noProof="0" dirty="0">
                <a:solidFill>
                  <a:schemeClr val="bg1"/>
                </a:solidFill>
                <a:latin typeface="Segoe UI" panose="020B0502040204020203" pitchFamily="34" charset="0"/>
                <a:cs typeface="Segoe UI" panose="020B0502040204020203" pitchFamily="34" charset="0"/>
              </a:rPr>
              <a:t>This message contains information that may be privileged or confidential and is the property of the Capgemini Group.</a:t>
            </a:r>
            <a:br>
              <a:rPr lang="en-US" sz="1100" noProof="0" dirty="0">
                <a:solidFill>
                  <a:schemeClr val="bg1"/>
                </a:solidFill>
                <a:latin typeface="Segoe UI" panose="020B0502040204020203" pitchFamily="34" charset="0"/>
                <a:cs typeface="Segoe UI" panose="020B0502040204020203" pitchFamily="34" charset="0"/>
              </a:rPr>
            </a:br>
            <a:r>
              <a:rPr lang="en-US" sz="1100" noProof="0" dirty="0">
                <a:solidFill>
                  <a:schemeClr val="bg1"/>
                </a:solidFill>
                <a:latin typeface="Segoe UI" panose="020B0502040204020203" pitchFamily="34" charset="0"/>
                <a:cs typeface="Segoe UI" panose="020B0502040204020203" pitchFamily="34" charset="0"/>
              </a:rPr>
              <a:t>Copyright © 2018 Capgemini. All rights reserved.</a:t>
            </a:r>
          </a:p>
          <a:p>
            <a:pPr marL="0" marR="0" indent="0" defTabSz="1222411" rtl="0" eaLnBrk="1" fontAlgn="auto" latinLnBrk="0" hangingPunct="1">
              <a:lnSpc>
                <a:spcPct val="100000"/>
              </a:lnSpc>
              <a:spcBef>
                <a:spcPts val="0"/>
              </a:spcBef>
              <a:spcAft>
                <a:spcPts val="766"/>
              </a:spcAft>
              <a:buClrTx/>
              <a:buSzTx/>
              <a:buFontTx/>
              <a:buNone/>
              <a:tabLst/>
              <a:defRPr/>
            </a:pPr>
            <a:r>
              <a:rPr lang="en-US" sz="1100" noProof="0" dirty="0">
                <a:solidFill>
                  <a:schemeClr val="bg1"/>
                </a:solidFill>
                <a:latin typeface="Segoe UI" panose="020B0502040204020203" pitchFamily="34" charset="0"/>
                <a:cs typeface="Segoe UI" panose="020B0502040204020203" pitchFamily="34" charset="0"/>
              </a:rPr>
              <a:t>Rightshore</a:t>
            </a:r>
            <a:r>
              <a:rPr lang="en-US" sz="1100" baseline="30000" noProof="0" dirty="0">
                <a:solidFill>
                  <a:schemeClr val="bg1"/>
                </a:solidFill>
                <a:latin typeface="Segoe UI" panose="020B0502040204020203" pitchFamily="34" charset="0"/>
                <a:cs typeface="Segoe UI" panose="020B0502040204020203" pitchFamily="34" charset="0"/>
              </a:rPr>
              <a:t>®</a:t>
            </a:r>
            <a:r>
              <a:rPr lang="en-US" sz="1100" noProof="0" dirty="0">
                <a:solidFill>
                  <a:schemeClr val="bg1"/>
                </a:solidFill>
                <a:latin typeface="Segoe UI" panose="020B0502040204020203" pitchFamily="34" charset="0"/>
                <a:cs typeface="Segoe UI" panose="020B0502040204020203" pitchFamily="34" charset="0"/>
              </a:rPr>
              <a:t> is a trademark belonging to Capgemini.</a:t>
            </a:r>
          </a:p>
        </p:txBody>
      </p:sp>
      <p:sp>
        <p:nvSpPr>
          <p:cNvPr id="18" name="Rectangle 17">
            <a:hlinkClick r:id="rId6"/>
          </p:cNvPr>
          <p:cNvSpPr/>
          <p:nvPr userDrawn="1"/>
        </p:nvSpPr>
        <p:spPr>
          <a:xfrm>
            <a:off x="7003822" y="2817791"/>
            <a:ext cx="2293461" cy="124781"/>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6708" tIns="58354" rIns="116708" bIns="58354" rtlCol="0" anchor="ctr"/>
          <a:lstStyle/>
          <a:p>
            <a:pPr algn="ctr"/>
            <a:endParaRPr lang="en-GB" sz="4084" dirty="0">
              <a:latin typeface="Segoe UI" panose="020B0502040204020203" pitchFamily="34" charset="0"/>
              <a:cs typeface="Segoe UI" panose="020B0502040204020203" pitchFamily="34" charset="0"/>
            </a:endParaRPr>
          </a:p>
        </p:txBody>
      </p:sp>
      <p:pic>
        <p:nvPicPr>
          <p:cNvPr id="24"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1237871" y="3450893"/>
            <a:ext cx="436029" cy="444510"/>
          </a:xfrm>
          <a:prstGeom prst="rect">
            <a:avLst/>
          </a:prstGeom>
          <a:noFill/>
        </p:spPr>
      </p:pic>
      <p:pic>
        <p:nvPicPr>
          <p:cNvPr id="25"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739568" y="3450893"/>
            <a:ext cx="436029" cy="444510"/>
          </a:xfrm>
          <a:prstGeom prst="rect">
            <a:avLst/>
          </a:prstGeom>
          <a:noFill/>
        </p:spPr>
      </p:pic>
      <p:pic>
        <p:nvPicPr>
          <p:cNvPr id="26"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2241266" y="3450893"/>
            <a:ext cx="436029" cy="444510"/>
          </a:xfrm>
          <a:prstGeom prst="rect">
            <a:avLst/>
          </a:prstGeom>
          <a:noFill/>
        </p:spPr>
      </p:pic>
      <p:pic>
        <p:nvPicPr>
          <p:cNvPr id="27"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2742962" y="3450893"/>
            <a:ext cx="436029" cy="444510"/>
          </a:xfrm>
          <a:prstGeom prst="rect">
            <a:avLst/>
          </a:prstGeom>
          <a:noFill/>
        </p:spPr>
      </p:pic>
      <p:pic>
        <p:nvPicPr>
          <p:cNvPr id="28"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736172" y="3450893"/>
            <a:ext cx="436029" cy="444510"/>
          </a:xfrm>
          <a:prstGeom prst="rect">
            <a:avLst/>
          </a:prstGeom>
          <a:noFill/>
        </p:spPr>
      </p:pic>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26405" y="4057790"/>
            <a:ext cx="3350503" cy="268168"/>
          </a:xfrm>
          <a:prstGeom prst="rect">
            <a:avLst/>
          </a:prstGeom>
        </p:spPr>
      </p:pic>
    </p:spTree>
    <p:extLst>
      <p:ext uri="{BB962C8B-B14F-4D97-AF65-F5344CB8AC3E}">
        <p14:creationId xmlns:p14="http://schemas.microsoft.com/office/powerpoint/2010/main" val="42063547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Section Opener2">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Freeform 73"/>
          <p:cNvSpPr>
            <a:spLocks/>
          </p:cNvSpPr>
          <p:nvPr userDrawn="1"/>
        </p:nvSpPr>
        <p:spPr bwMode="auto">
          <a:xfrm flipH="1">
            <a:off x="6781800" y="-721502"/>
            <a:ext cx="7696200" cy="7579502"/>
          </a:xfrm>
          <a:custGeom>
            <a:avLst/>
            <a:gdLst>
              <a:gd name="T0" fmla="*/ 527 w 527"/>
              <a:gd name="T1" fmla="*/ 232 h 519"/>
              <a:gd name="T2" fmla="*/ 132 w 527"/>
              <a:gd name="T3" fmla="*/ 53 h 519"/>
              <a:gd name="T4" fmla="*/ 29 w 527"/>
              <a:gd name="T5" fmla="*/ 254 h 519"/>
              <a:gd name="T6" fmla="*/ 375 w 527"/>
              <a:gd name="T7" fmla="*/ 456 h 519"/>
              <a:gd name="T8" fmla="*/ 377 w 527"/>
              <a:gd name="T9" fmla="*/ 519 h 519"/>
              <a:gd name="T10" fmla="*/ 411 w 527"/>
              <a:gd name="T11" fmla="*/ 519 h 519"/>
              <a:gd name="T12" fmla="*/ 527 w 527"/>
              <a:gd name="T13" fmla="*/ 232 h 519"/>
            </a:gdLst>
            <a:ahLst/>
            <a:cxnLst>
              <a:cxn ang="0">
                <a:pos x="T0" y="T1"/>
              </a:cxn>
              <a:cxn ang="0">
                <a:pos x="T2" y="T3"/>
              </a:cxn>
              <a:cxn ang="0">
                <a:pos x="T4" y="T5"/>
              </a:cxn>
              <a:cxn ang="0">
                <a:pos x="T6" y="T7"/>
              </a:cxn>
              <a:cxn ang="0">
                <a:pos x="T8" y="T9"/>
              </a:cxn>
              <a:cxn ang="0">
                <a:pos x="T10" y="T11"/>
              </a:cxn>
              <a:cxn ang="0">
                <a:pos x="T12" y="T13"/>
              </a:cxn>
            </a:cxnLst>
            <a:rect l="0" t="0" r="r" b="b"/>
            <a:pathLst>
              <a:path w="527" h="519">
                <a:moveTo>
                  <a:pt x="527" y="232"/>
                </a:moveTo>
                <a:cubicBezTo>
                  <a:pt x="428" y="195"/>
                  <a:pt x="294" y="0"/>
                  <a:pt x="132" y="53"/>
                </a:cubicBezTo>
                <a:cubicBezTo>
                  <a:pt x="40" y="84"/>
                  <a:pt x="0" y="183"/>
                  <a:pt x="29" y="254"/>
                </a:cubicBezTo>
                <a:cubicBezTo>
                  <a:pt x="96" y="420"/>
                  <a:pt x="335" y="344"/>
                  <a:pt x="375" y="456"/>
                </a:cubicBezTo>
                <a:cubicBezTo>
                  <a:pt x="384" y="483"/>
                  <a:pt x="383" y="503"/>
                  <a:pt x="377" y="519"/>
                </a:cubicBezTo>
                <a:cubicBezTo>
                  <a:pt x="411" y="519"/>
                  <a:pt x="411" y="519"/>
                  <a:pt x="411" y="519"/>
                </a:cubicBezTo>
                <a:cubicBezTo>
                  <a:pt x="487" y="453"/>
                  <a:pt x="522" y="345"/>
                  <a:pt x="527" y="232"/>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379131" y="2719643"/>
            <a:ext cx="4751909" cy="1418714"/>
          </a:xfrm>
          <a:prstGeom prst="rect">
            <a:avLst/>
          </a:prstGeom>
        </p:spPr>
        <p:txBody>
          <a:bodyPr anchor="t" anchorCtr="0">
            <a:normAutofit/>
          </a:bodyPr>
          <a:lstStyle>
            <a:lvl1pPr marL="0" indent="0" algn="l">
              <a:lnSpc>
                <a:spcPct val="100000"/>
              </a:lnSpc>
              <a:buNone/>
              <a:defRPr sz="4400">
                <a:solidFill>
                  <a:schemeClr val="bg1"/>
                </a:solidFill>
              </a:defRPr>
            </a:lvl1pPr>
            <a:lvl2pPr marL="457200" indent="0">
              <a:buNone/>
              <a:defRPr sz="6000">
                <a:solidFill>
                  <a:schemeClr val="bg1"/>
                </a:solidFill>
              </a:defRPr>
            </a:lvl2pPr>
          </a:lstStyle>
          <a:p>
            <a:pPr lvl="0"/>
            <a:r>
              <a:rPr lang="en-US"/>
              <a:t>Click to add section title</a:t>
            </a:r>
          </a:p>
        </p:txBody>
      </p:sp>
    </p:spTree>
    <p:extLst>
      <p:ext uri="{BB962C8B-B14F-4D97-AF65-F5344CB8AC3E}">
        <p14:creationId xmlns:p14="http://schemas.microsoft.com/office/powerpoint/2010/main" val="9678499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ck_Background">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3200" y="6306704"/>
            <a:ext cx="1062165" cy="551297"/>
          </a:xfrm>
          <a:prstGeom prst="rect">
            <a:avLst/>
          </a:prstGeom>
        </p:spPr>
      </p:pic>
    </p:spTree>
    <p:extLst>
      <p:ext uri="{BB962C8B-B14F-4D97-AF65-F5344CB8AC3E}">
        <p14:creationId xmlns:p14="http://schemas.microsoft.com/office/powerpoint/2010/main" val="24330673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Black_Background">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3200" y="6306704"/>
            <a:ext cx="1062165" cy="551297"/>
          </a:xfrm>
          <a:prstGeom prst="rect">
            <a:avLst/>
          </a:prstGeom>
        </p:spPr>
      </p:pic>
    </p:spTree>
    <p:extLst>
      <p:ext uri="{BB962C8B-B14F-4D97-AF65-F5344CB8AC3E}">
        <p14:creationId xmlns:p14="http://schemas.microsoft.com/office/powerpoint/2010/main" val="2356966058"/>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ne Header Content">
    <p:spTree>
      <p:nvGrpSpPr>
        <p:cNvPr id="1" name=""/>
        <p:cNvGrpSpPr/>
        <p:nvPr/>
      </p:nvGrpSpPr>
      <p:grpSpPr>
        <a:xfrm>
          <a:off x="0" y="0"/>
          <a:ext cx="0" cy="0"/>
          <a:chOff x="0" y="0"/>
          <a:chExt cx="0" cy="0"/>
        </a:xfrm>
      </p:grpSpPr>
      <p:cxnSp>
        <p:nvCxnSpPr>
          <p:cNvPr id="14" name="Straight Connector 13"/>
          <p:cNvCxnSpPr/>
          <p:nvPr userDrawn="1"/>
        </p:nvCxnSpPr>
        <p:spPr>
          <a:xfrm>
            <a:off x="523393" y="458827"/>
            <a:ext cx="11129819" cy="0"/>
          </a:xfrm>
          <a:prstGeom prst="line">
            <a:avLst/>
          </a:prstGeom>
          <a:ln w="19050" cmpd="sng">
            <a:solidFill>
              <a:srgbClr val="58595B"/>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4"/>
          <p:cNvSpPr>
            <a:spLocks noGrp="1"/>
          </p:cNvSpPr>
          <p:nvPr>
            <p:ph type="body" sz="quarter" idx="10" hasCustomPrompt="1"/>
          </p:nvPr>
        </p:nvSpPr>
        <p:spPr>
          <a:xfrm>
            <a:off x="523393" y="200909"/>
            <a:ext cx="11129819" cy="218952"/>
          </a:xfrm>
          <a:prstGeom prst="rect">
            <a:avLst/>
          </a:prstGeom>
        </p:spPr>
        <p:txBody>
          <a:bodyPr vert="horz" lIns="0" tIns="0" rIns="0" bIns="0"/>
          <a:lstStyle>
            <a:lvl1pPr marL="0" indent="0">
              <a:spcBef>
                <a:spcPts val="0"/>
              </a:spcBef>
              <a:buNone/>
              <a:defRPr lang="en-US" sz="1200" b="0" i="0" kern="1200" smtClean="0">
                <a:solidFill>
                  <a:srgbClr val="58595B"/>
                </a:solidFill>
                <a:latin typeface="Helvetica" charset="0"/>
                <a:ea typeface="Helvetica" charset="0"/>
                <a:cs typeface="Helvetica" charset="0"/>
              </a:defRPr>
            </a:lvl1pPr>
          </a:lstStyle>
          <a:p>
            <a:pPr lvl="0"/>
            <a:r>
              <a:rPr lang="en-US" dirty="0"/>
              <a:t>CLICK TO EDIT MASTER TEXT STYLES</a:t>
            </a:r>
          </a:p>
        </p:txBody>
      </p:sp>
    </p:spTree>
    <p:extLst>
      <p:ext uri="{BB962C8B-B14F-4D97-AF65-F5344CB8AC3E}">
        <p14:creationId xmlns:p14="http://schemas.microsoft.com/office/powerpoint/2010/main" val="38689240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407988" y="2782297"/>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1" dirty="0">
                <a:solidFill>
                  <a:schemeClr val="tx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4400324"/>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b="1" dirty="0">
                <a:solidFill>
                  <a:schemeClr val="tx1"/>
                </a:solidFill>
              </a:defRPr>
            </a:lvl1pPr>
          </a:lstStyle>
          <a:p>
            <a:pPr marL="0" lvl="0"/>
            <a:r>
              <a:rPr lang="en-US" dirty="0"/>
              <a:t>Click to insert presenter, location, and date</a:t>
            </a:r>
          </a:p>
        </p:txBody>
      </p:sp>
    </p:spTree>
    <p:extLst>
      <p:ext uri="{BB962C8B-B14F-4D97-AF65-F5344CB8AC3E}">
        <p14:creationId xmlns:p14="http://schemas.microsoft.com/office/powerpoint/2010/main" val="975361628"/>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Titre seul">
    <p:spTree>
      <p:nvGrpSpPr>
        <p:cNvPr id="1" name=""/>
        <p:cNvGrpSpPr/>
        <p:nvPr/>
      </p:nvGrpSpPr>
      <p:grpSpPr>
        <a:xfrm>
          <a:off x="0" y="0"/>
          <a:ext cx="0" cy="0"/>
          <a:chOff x="0" y="0"/>
          <a:chExt cx="0" cy="0"/>
        </a:xfrm>
      </p:grpSpPr>
      <p:grpSp>
        <p:nvGrpSpPr>
          <p:cNvPr id="4" name="Group 3"/>
          <p:cNvGrpSpPr/>
          <p:nvPr userDrawn="1"/>
        </p:nvGrpSpPr>
        <p:grpSpPr>
          <a:xfrm>
            <a:off x="-5324" y="-11820"/>
            <a:ext cx="12216384" cy="1372079"/>
            <a:chOff x="-3993" y="-8865"/>
            <a:chExt cx="9162288" cy="1029059"/>
          </a:xfrm>
        </p:grpSpPr>
        <p:sp>
          <p:nvSpPr>
            <p:cNvPr id="8" name="Rectangle 7"/>
            <p:cNvSpPr/>
            <p:nvPr userDrawn="1">
              <p:custDataLst>
                <p:tags r:id="rId3"/>
              </p:custDataLst>
            </p:nvPr>
          </p:nvSpPr>
          <p:spPr bwMode="auto">
            <a:xfrm>
              <a:off x="-1041" y="-8865"/>
              <a:ext cx="9147298" cy="102905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17461"/>
                <a:gd name="connsiteY0" fmla="*/ 726087 h 4303631"/>
                <a:gd name="connsiteX1" fmla="*/ 21716773 w 21717461"/>
                <a:gd name="connsiteY1" fmla="*/ 54 h 4303631"/>
                <a:gd name="connsiteX2" fmla="*/ 21716773 w 21717461"/>
                <a:gd name="connsiteY2" fmla="*/ 3144336 h 4303631"/>
                <a:gd name="connsiteX3" fmla="*/ 20922482 w 21717461"/>
                <a:gd name="connsiteY3" fmla="*/ 3529321 h 4303631"/>
                <a:gd name="connsiteX4" fmla="*/ 4242445 w 21717461"/>
                <a:gd name="connsiteY4" fmla="*/ 3505153 h 4303631"/>
                <a:gd name="connsiteX5" fmla="*/ 3099243 w 21717461"/>
                <a:gd name="connsiteY5" fmla="*/ 4303631 h 4303631"/>
                <a:gd name="connsiteX6" fmla="*/ 1924889 w 21717461"/>
                <a:gd name="connsiteY6" fmla="*/ 3505153 h 4303631"/>
                <a:gd name="connsiteX7" fmla="*/ 22601 w 21717461"/>
                <a:gd name="connsiteY7" fmla="*/ 3505153 h 4303631"/>
                <a:gd name="connsiteX8" fmla="*/ 0 w 21717461"/>
                <a:gd name="connsiteY8" fmla="*/ 726087 h 4303631"/>
                <a:gd name="connsiteX0" fmla="*/ 0 w 21694863"/>
                <a:gd name="connsiteY0" fmla="*/ 258723 h 4303719"/>
                <a:gd name="connsiteX1" fmla="*/ 21694175 w 21694863"/>
                <a:gd name="connsiteY1" fmla="*/ 142 h 4303719"/>
                <a:gd name="connsiteX2" fmla="*/ 21694175 w 21694863"/>
                <a:gd name="connsiteY2" fmla="*/ 3144424 h 4303719"/>
                <a:gd name="connsiteX3" fmla="*/ 20899884 w 21694863"/>
                <a:gd name="connsiteY3" fmla="*/ 3529409 h 4303719"/>
                <a:gd name="connsiteX4" fmla="*/ 4219847 w 21694863"/>
                <a:gd name="connsiteY4" fmla="*/ 3505241 h 4303719"/>
                <a:gd name="connsiteX5" fmla="*/ 3076645 w 21694863"/>
                <a:gd name="connsiteY5" fmla="*/ 4303719 h 4303719"/>
                <a:gd name="connsiteX6" fmla="*/ 1902291 w 21694863"/>
                <a:gd name="connsiteY6" fmla="*/ 3505241 h 4303719"/>
                <a:gd name="connsiteX7" fmla="*/ 3 w 21694863"/>
                <a:gd name="connsiteY7" fmla="*/ 3505241 h 4303719"/>
                <a:gd name="connsiteX8" fmla="*/ 0 w 21694863"/>
                <a:gd name="connsiteY8" fmla="*/ 258723 h 4303719"/>
                <a:gd name="connsiteX0" fmla="*/ 0 w 21716780"/>
                <a:gd name="connsiteY0" fmla="*/ 0 h 4044996"/>
                <a:gd name="connsiteX1" fmla="*/ 21716773 w 21716780"/>
                <a:gd name="connsiteY1" fmla="*/ 816560 h 4044996"/>
                <a:gd name="connsiteX2" fmla="*/ 21694175 w 21716780"/>
                <a:gd name="connsiteY2" fmla="*/ 2885701 h 4044996"/>
                <a:gd name="connsiteX3" fmla="*/ 20899884 w 21716780"/>
                <a:gd name="connsiteY3" fmla="*/ 3270686 h 4044996"/>
                <a:gd name="connsiteX4" fmla="*/ 4219847 w 21716780"/>
                <a:gd name="connsiteY4" fmla="*/ 3246518 h 4044996"/>
                <a:gd name="connsiteX5" fmla="*/ 3076645 w 21716780"/>
                <a:gd name="connsiteY5" fmla="*/ 4044996 h 4044996"/>
                <a:gd name="connsiteX6" fmla="*/ 1902291 w 21716780"/>
                <a:gd name="connsiteY6" fmla="*/ 3246518 h 4044996"/>
                <a:gd name="connsiteX7" fmla="*/ 3 w 21716780"/>
                <a:gd name="connsiteY7" fmla="*/ 3246518 h 4044996"/>
                <a:gd name="connsiteX8" fmla="*/ 0 w 21716780"/>
                <a:gd name="connsiteY8" fmla="*/ 0 h 4044996"/>
                <a:gd name="connsiteX0" fmla="*/ 0 w 21716780"/>
                <a:gd name="connsiteY0" fmla="*/ 0 h 4044996"/>
                <a:gd name="connsiteX1" fmla="*/ 21716773 w 21716780"/>
                <a:gd name="connsiteY1" fmla="*/ 45263 h 4044996"/>
                <a:gd name="connsiteX2" fmla="*/ 21694175 w 21716780"/>
                <a:gd name="connsiteY2" fmla="*/ 2885701 h 4044996"/>
                <a:gd name="connsiteX3" fmla="*/ 20899884 w 21716780"/>
                <a:gd name="connsiteY3" fmla="*/ 3270686 h 4044996"/>
                <a:gd name="connsiteX4" fmla="*/ 4219847 w 21716780"/>
                <a:gd name="connsiteY4" fmla="*/ 3246518 h 4044996"/>
                <a:gd name="connsiteX5" fmla="*/ 3076645 w 21716780"/>
                <a:gd name="connsiteY5" fmla="*/ 4044996 h 4044996"/>
                <a:gd name="connsiteX6" fmla="*/ 1902291 w 21716780"/>
                <a:gd name="connsiteY6" fmla="*/ 3246518 h 4044996"/>
                <a:gd name="connsiteX7" fmla="*/ 3 w 21716780"/>
                <a:gd name="connsiteY7" fmla="*/ 3246518 h 4044996"/>
                <a:gd name="connsiteX8" fmla="*/ 0 w 21716780"/>
                <a:gd name="connsiteY8" fmla="*/ 0 h 4044996"/>
                <a:gd name="connsiteX0" fmla="*/ 0 w 21699862"/>
                <a:gd name="connsiteY0" fmla="*/ 0 h 4044996"/>
                <a:gd name="connsiteX1" fmla="*/ 21699824 w 21699862"/>
                <a:gd name="connsiteY1" fmla="*/ 33578 h 4044996"/>
                <a:gd name="connsiteX2" fmla="*/ 21694175 w 21699862"/>
                <a:gd name="connsiteY2" fmla="*/ 2885701 h 4044996"/>
                <a:gd name="connsiteX3" fmla="*/ 20899884 w 21699862"/>
                <a:gd name="connsiteY3" fmla="*/ 3270686 h 4044996"/>
                <a:gd name="connsiteX4" fmla="*/ 4219847 w 21699862"/>
                <a:gd name="connsiteY4" fmla="*/ 3246518 h 4044996"/>
                <a:gd name="connsiteX5" fmla="*/ 3076645 w 21699862"/>
                <a:gd name="connsiteY5" fmla="*/ 4044996 h 4044996"/>
                <a:gd name="connsiteX6" fmla="*/ 1902291 w 21699862"/>
                <a:gd name="connsiteY6" fmla="*/ 3246518 h 4044996"/>
                <a:gd name="connsiteX7" fmla="*/ 3 w 21699862"/>
                <a:gd name="connsiteY7" fmla="*/ 3246518 h 4044996"/>
                <a:gd name="connsiteX8" fmla="*/ 0 w 21699862"/>
                <a:gd name="connsiteY8" fmla="*/ 0 h 4044996"/>
                <a:gd name="connsiteX0" fmla="*/ 0 w 21699862"/>
                <a:gd name="connsiteY0" fmla="*/ 0 h 4044996"/>
                <a:gd name="connsiteX1" fmla="*/ 21699824 w 21699862"/>
                <a:gd name="connsiteY1" fmla="*/ 33578 h 4044996"/>
                <a:gd name="connsiteX2" fmla="*/ 21694175 w 21699862"/>
                <a:gd name="connsiteY2" fmla="*/ 2885701 h 4044996"/>
                <a:gd name="connsiteX3" fmla="*/ 20899884 w 21699862"/>
                <a:gd name="connsiteY3" fmla="*/ 3270686 h 4044996"/>
                <a:gd name="connsiteX4" fmla="*/ 4219847 w 21699862"/>
                <a:gd name="connsiteY4" fmla="*/ 3246518 h 4044996"/>
                <a:gd name="connsiteX5" fmla="*/ 3076645 w 21699862"/>
                <a:gd name="connsiteY5" fmla="*/ 4044996 h 4044996"/>
                <a:gd name="connsiteX6" fmla="*/ 1902291 w 21699862"/>
                <a:gd name="connsiteY6" fmla="*/ 3246518 h 4044996"/>
                <a:gd name="connsiteX7" fmla="*/ 1034633 w 21699862"/>
                <a:gd name="connsiteY7" fmla="*/ 3253993 h 4044996"/>
                <a:gd name="connsiteX8" fmla="*/ 3 w 21699862"/>
                <a:gd name="connsiteY8" fmla="*/ 3246518 h 4044996"/>
                <a:gd name="connsiteX9" fmla="*/ 0 w 21699862"/>
                <a:gd name="connsiteY9" fmla="*/ 0 h 4044996"/>
                <a:gd name="connsiteX0" fmla="*/ 0 w 21699862"/>
                <a:gd name="connsiteY0" fmla="*/ 22627 h 4067623"/>
                <a:gd name="connsiteX1" fmla="*/ 1034633 w 21699862"/>
                <a:gd name="connsiteY1" fmla="*/ 0 h 4067623"/>
                <a:gd name="connsiteX2" fmla="*/ 21699824 w 21699862"/>
                <a:gd name="connsiteY2" fmla="*/ 56205 h 4067623"/>
                <a:gd name="connsiteX3" fmla="*/ 21694175 w 21699862"/>
                <a:gd name="connsiteY3" fmla="*/ 2908328 h 4067623"/>
                <a:gd name="connsiteX4" fmla="*/ 20899884 w 21699862"/>
                <a:gd name="connsiteY4" fmla="*/ 3293313 h 4067623"/>
                <a:gd name="connsiteX5" fmla="*/ 4219847 w 21699862"/>
                <a:gd name="connsiteY5" fmla="*/ 3269145 h 4067623"/>
                <a:gd name="connsiteX6" fmla="*/ 3076645 w 21699862"/>
                <a:gd name="connsiteY6" fmla="*/ 4067623 h 4067623"/>
                <a:gd name="connsiteX7" fmla="*/ 1902291 w 21699862"/>
                <a:gd name="connsiteY7" fmla="*/ 3269145 h 4067623"/>
                <a:gd name="connsiteX8" fmla="*/ 1034633 w 21699862"/>
                <a:gd name="connsiteY8" fmla="*/ 3276620 h 4067623"/>
                <a:gd name="connsiteX9" fmla="*/ 3 w 21699862"/>
                <a:gd name="connsiteY9" fmla="*/ 3269145 h 4067623"/>
                <a:gd name="connsiteX10" fmla="*/ 0 w 21699862"/>
                <a:gd name="connsiteY10" fmla="*/ 22627 h 4067623"/>
                <a:gd name="connsiteX0" fmla="*/ 893057 w 22592916"/>
                <a:gd name="connsiteY0" fmla="*/ 3269145 h 4067623"/>
                <a:gd name="connsiteX1" fmla="*/ 1927687 w 22592916"/>
                <a:gd name="connsiteY1" fmla="*/ 0 h 4067623"/>
                <a:gd name="connsiteX2" fmla="*/ 22592878 w 22592916"/>
                <a:gd name="connsiteY2" fmla="*/ 56205 h 4067623"/>
                <a:gd name="connsiteX3" fmla="*/ 22587229 w 22592916"/>
                <a:gd name="connsiteY3" fmla="*/ 2908328 h 4067623"/>
                <a:gd name="connsiteX4" fmla="*/ 21792938 w 22592916"/>
                <a:gd name="connsiteY4" fmla="*/ 3293313 h 4067623"/>
                <a:gd name="connsiteX5" fmla="*/ 5112901 w 22592916"/>
                <a:gd name="connsiteY5" fmla="*/ 3269145 h 4067623"/>
                <a:gd name="connsiteX6" fmla="*/ 3969699 w 22592916"/>
                <a:gd name="connsiteY6" fmla="*/ 4067623 h 4067623"/>
                <a:gd name="connsiteX7" fmla="*/ 2795345 w 22592916"/>
                <a:gd name="connsiteY7" fmla="*/ 3269145 h 4067623"/>
                <a:gd name="connsiteX8" fmla="*/ 1927687 w 22592916"/>
                <a:gd name="connsiteY8" fmla="*/ 3276620 h 4067623"/>
                <a:gd name="connsiteX9" fmla="*/ 893057 w 22592916"/>
                <a:gd name="connsiteY9" fmla="*/ 3269145 h 4067623"/>
                <a:gd name="connsiteX0" fmla="*/ 0 w 20665229"/>
                <a:gd name="connsiteY0" fmla="*/ 3276620 h 4067623"/>
                <a:gd name="connsiteX1" fmla="*/ 0 w 20665229"/>
                <a:gd name="connsiteY1" fmla="*/ 0 h 4067623"/>
                <a:gd name="connsiteX2" fmla="*/ 20665191 w 20665229"/>
                <a:gd name="connsiteY2" fmla="*/ 56205 h 4067623"/>
                <a:gd name="connsiteX3" fmla="*/ 20659542 w 20665229"/>
                <a:gd name="connsiteY3" fmla="*/ 2908328 h 4067623"/>
                <a:gd name="connsiteX4" fmla="*/ 19865251 w 20665229"/>
                <a:gd name="connsiteY4" fmla="*/ 3293313 h 4067623"/>
                <a:gd name="connsiteX5" fmla="*/ 3185214 w 20665229"/>
                <a:gd name="connsiteY5" fmla="*/ 3269145 h 4067623"/>
                <a:gd name="connsiteX6" fmla="*/ 2042012 w 20665229"/>
                <a:gd name="connsiteY6" fmla="*/ 4067623 h 4067623"/>
                <a:gd name="connsiteX7" fmla="*/ 867658 w 20665229"/>
                <a:gd name="connsiteY7" fmla="*/ 3269145 h 4067623"/>
                <a:gd name="connsiteX8" fmla="*/ 0 w 20665229"/>
                <a:gd name="connsiteY8" fmla="*/ 3276620 h 4067623"/>
                <a:gd name="connsiteX0" fmla="*/ 30487 w 20695716"/>
                <a:gd name="connsiteY0" fmla="*/ 3247694 h 4038697"/>
                <a:gd name="connsiteX1" fmla="*/ 0 w 20695716"/>
                <a:gd name="connsiteY1" fmla="*/ 0 h 4038697"/>
                <a:gd name="connsiteX2" fmla="*/ 20695678 w 20695716"/>
                <a:gd name="connsiteY2" fmla="*/ 27279 h 4038697"/>
                <a:gd name="connsiteX3" fmla="*/ 20690029 w 20695716"/>
                <a:gd name="connsiteY3" fmla="*/ 2879402 h 4038697"/>
                <a:gd name="connsiteX4" fmla="*/ 19895738 w 20695716"/>
                <a:gd name="connsiteY4" fmla="*/ 3264387 h 4038697"/>
                <a:gd name="connsiteX5" fmla="*/ 3215701 w 20695716"/>
                <a:gd name="connsiteY5" fmla="*/ 3240219 h 4038697"/>
                <a:gd name="connsiteX6" fmla="*/ 2072499 w 20695716"/>
                <a:gd name="connsiteY6" fmla="*/ 4038697 h 4038697"/>
                <a:gd name="connsiteX7" fmla="*/ 898145 w 20695716"/>
                <a:gd name="connsiteY7" fmla="*/ 3240219 h 4038697"/>
                <a:gd name="connsiteX8" fmla="*/ 30487 w 20695716"/>
                <a:gd name="connsiteY8" fmla="*/ 3247694 h 4038697"/>
                <a:gd name="connsiteX0" fmla="*/ 7622 w 20695716"/>
                <a:gd name="connsiteY0" fmla="*/ 3231165 h 4038697"/>
                <a:gd name="connsiteX1" fmla="*/ 0 w 20695716"/>
                <a:gd name="connsiteY1" fmla="*/ 0 h 4038697"/>
                <a:gd name="connsiteX2" fmla="*/ 20695678 w 20695716"/>
                <a:gd name="connsiteY2" fmla="*/ 27279 h 4038697"/>
                <a:gd name="connsiteX3" fmla="*/ 20690029 w 20695716"/>
                <a:gd name="connsiteY3" fmla="*/ 2879402 h 4038697"/>
                <a:gd name="connsiteX4" fmla="*/ 19895738 w 20695716"/>
                <a:gd name="connsiteY4" fmla="*/ 3264387 h 4038697"/>
                <a:gd name="connsiteX5" fmla="*/ 3215701 w 20695716"/>
                <a:gd name="connsiteY5" fmla="*/ 3240219 h 4038697"/>
                <a:gd name="connsiteX6" fmla="*/ 2072499 w 20695716"/>
                <a:gd name="connsiteY6" fmla="*/ 4038697 h 4038697"/>
                <a:gd name="connsiteX7" fmla="*/ 898145 w 20695716"/>
                <a:gd name="connsiteY7" fmla="*/ 3240219 h 4038697"/>
                <a:gd name="connsiteX8" fmla="*/ 7622 w 20695716"/>
                <a:gd name="connsiteY8" fmla="*/ 3231165 h 4038697"/>
                <a:gd name="connsiteX0" fmla="*/ 7622 w 26846280"/>
                <a:gd name="connsiteY0" fmla="*/ 3231165 h 4038697"/>
                <a:gd name="connsiteX1" fmla="*/ 0 w 26846280"/>
                <a:gd name="connsiteY1" fmla="*/ 0 h 4038697"/>
                <a:gd name="connsiteX2" fmla="*/ 26846280 w 26846280"/>
                <a:gd name="connsiteY2" fmla="*/ 849000 h 4038697"/>
                <a:gd name="connsiteX3" fmla="*/ 20690029 w 26846280"/>
                <a:gd name="connsiteY3" fmla="*/ 2879402 h 4038697"/>
                <a:gd name="connsiteX4" fmla="*/ 19895738 w 26846280"/>
                <a:gd name="connsiteY4" fmla="*/ 3264387 h 4038697"/>
                <a:gd name="connsiteX5" fmla="*/ 3215701 w 26846280"/>
                <a:gd name="connsiteY5" fmla="*/ 3240219 h 4038697"/>
                <a:gd name="connsiteX6" fmla="*/ 2072499 w 26846280"/>
                <a:gd name="connsiteY6" fmla="*/ 4038697 h 4038697"/>
                <a:gd name="connsiteX7" fmla="*/ 898145 w 26846280"/>
                <a:gd name="connsiteY7" fmla="*/ 3240219 h 4038697"/>
                <a:gd name="connsiteX8" fmla="*/ 7622 w 26846280"/>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19895738 w 26879142"/>
                <a:gd name="connsiteY4" fmla="*/ 3264387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25989843 w 26879142"/>
                <a:gd name="connsiteY4" fmla="*/ 3195730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25989843 w 26879142"/>
                <a:gd name="connsiteY4" fmla="*/ 3195730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83264"/>
                <a:gd name="connsiteY0" fmla="*/ 3231165 h 4038697"/>
                <a:gd name="connsiteX1" fmla="*/ 0 w 26883264"/>
                <a:gd name="connsiteY1" fmla="*/ 0 h 4038697"/>
                <a:gd name="connsiteX2" fmla="*/ 26883213 w 26883264"/>
                <a:gd name="connsiteY2" fmla="*/ 797512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6 w 26875648"/>
                <a:gd name="connsiteY0" fmla="*/ 2733417 h 3540949"/>
                <a:gd name="connsiteX1" fmla="*/ 889350 w 26875648"/>
                <a:gd name="connsiteY1" fmla="*/ 0 h 3540949"/>
                <a:gd name="connsiteX2" fmla="*/ 26875597 w 26875648"/>
                <a:gd name="connsiteY2" fmla="*/ 288323 h 3540949"/>
                <a:gd name="connsiteX3" fmla="*/ 26871492 w 26875648"/>
                <a:gd name="connsiteY3" fmla="*/ 1649339 h 3540949"/>
                <a:gd name="connsiteX4" fmla="*/ 25496808 w 26875648"/>
                <a:gd name="connsiteY4" fmla="*/ 2692262 h 3540949"/>
                <a:gd name="connsiteX5" fmla="*/ 3208085 w 26875648"/>
                <a:gd name="connsiteY5" fmla="*/ 2742471 h 3540949"/>
                <a:gd name="connsiteX6" fmla="*/ 2064883 w 26875648"/>
                <a:gd name="connsiteY6" fmla="*/ 3540949 h 3540949"/>
                <a:gd name="connsiteX7" fmla="*/ 890529 w 26875648"/>
                <a:gd name="connsiteY7" fmla="*/ 2742471 h 3540949"/>
                <a:gd name="connsiteX8" fmla="*/ 6 w 26875648"/>
                <a:gd name="connsiteY8" fmla="*/ 2733417 h 3540949"/>
                <a:gd name="connsiteX0" fmla="*/ 6 w 26875648"/>
                <a:gd name="connsiteY0" fmla="*/ 2445094 h 3252626"/>
                <a:gd name="connsiteX1" fmla="*/ 894628 w 26875648"/>
                <a:gd name="connsiteY1" fmla="*/ 49230 h 3252626"/>
                <a:gd name="connsiteX2" fmla="*/ 26875597 w 26875648"/>
                <a:gd name="connsiteY2" fmla="*/ 0 h 3252626"/>
                <a:gd name="connsiteX3" fmla="*/ 26871492 w 26875648"/>
                <a:gd name="connsiteY3" fmla="*/ 1361016 h 3252626"/>
                <a:gd name="connsiteX4" fmla="*/ 25496808 w 26875648"/>
                <a:gd name="connsiteY4" fmla="*/ 2403939 h 3252626"/>
                <a:gd name="connsiteX5" fmla="*/ 3208085 w 26875648"/>
                <a:gd name="connsiteY5" fmla="*/ 2454148 h 3252626"/>
                <a:gd name="connsiteX6" fmla="*/ 2064883 w 26875648"/>
                <a:gd name="connsiteY6" fmla="*/ 3252626 h 3252626"/>
                <a:gd name="connsiteX7" fmla="*/ 890529 w 26875648"/>
                <a:gd name="connsiteY7" fmla="*/ 2454148 h 3252626"/>
                <a:gd name="connsiteX8" fmla="*/ 6 w 26875648"/>
                <a:gd name="connsiteY8" fmla="*/ 2445094 h 3252626"/>
                <a:gd name="connsiteX0" fmla="*/ 6 w 26875648"/>
                <a:gd name="connsiteY0" fmla="*/ 2447355 h 3254887"/>
                <a:gd name="connsiteX1" fmla="*/ 968498 w 26875648"/>
                <a:gd name="connsiteY1" fmla="*/ 0 h 3254887"/>
                <a:gd name="connsiteX2" fmla="*/ 26875597 w 26875648"/>
                <a:gd name="connsiteY2" fmla="*/ 2261 h 3254887"/>
                <a:gd name="connsiteX3" fmla="*/ 26871492 w 26875648"/>
                <a:gd name="connsiteY3" fmla="*/ 1363277 h 3254887"/>
                <a:gd name="connsiteX4" fmla="*/ 25496808 w 26875648"/>
                <a:gd name="connsiteY4" fmla="*/ 2406200 h 3254887"/>
                <a:gd name="connsiteX5" fmla="*/ 3208085 w 26875648"/>
                <a:gd name="connsiteY5" fmla="*/ 2456409 h 3254887"/>
                <a:gd name="connsiteX6" fmla="*/ 2064883 w 26875648"/>
                <a:gd name="connsiteY6" fmla="*/ 3254887 h 3254887"/>
                <a:gd name="connsiteX7" fmla="*/ 890529 w 26875648"/>
                <a:gd name="connsiteY7" fmla="*/ 2456409 h 3254887"/>
                <a:gd name="connsiteX8" fmla="*/ 6 w 26875648"/>
                <a:gd name="connsiteY8" fmla="*/ 2447355 h 3254887"/>
                <a:gd name="connsiteX0" fmla="*/ 6 w 26875648"/>
                <a:gd name="connsiteY0" fmla="*/ 2447355 h 3254887"/>
                <a:gd name="connsiteX1" fmla="*/ 968498 w 26875648"/>
                <a:gd name="connsiteY1" fmla="*/ 0 h 3254887"/>
                <a:gd name="connsiteX2" fmla="*/ 26875597 w 26875648"/>
                <a:gd name="connsiteY2" fmla="*/ 2261 h 3254887"/>
                <a:gd name="connsiteX3" fmla="*/ 26871492 w 26875648"/>
                <a:gd name="connsiteY3" fmla="*/ 1363277 h 3254887"/>
                <a:gd name="connsiteX4" fmla="*/ 25496808 w 26875648"/>
                <a:gd name="connsiteY4" fmla="*/ 2406200 h 3254887"/>
                <a:gd name="connsiteX5" fmla="*/ 3208085 w 26875648"/>
                <a:gd name="connsiteY5" fmla="*/ 2456409 h 3254887"/>
                <a:gd name="connsiteX6" fmla="*/ 2064883 w 26875648"/>
                <a:gd name="connsiteY6" fmla="*/ 3254887 h 3254887"/>
                <a:gd name="connsiteX7" fmla="*/ 890529 w 26875648"/>
                <a:gd name="connsiteY7" fmla="*/ 2456411 h 3254887"/>
                <a:gd name="connsiteX8" fmla="*/ 6 w 26875648"/>
                <a:gd name="connsiteY8" fmla="*/ 2447355 h 3254887"/>
                <a:gd name="connsiteX0" fmla="*/ 0 w 25985119"/>
                <a:gd name="connsiteY0" fmla="*/ 2456411 h 3254887"/>
                <a:gd name="connsiteX1" fmla="*/ 77969 w 25985119"/>
                <a:gd name="connsiteY1" fmla="*/ 0 h 3254887"/>
                <a:gd name="connsiteX2" fmla="*/ 25985068 w 25985119"/>
                <a:gd name="connsiteY2" fmla="*/ 2261 h 3254887"/>
                <a:gd name="connsiteX3" fmla="*/ 25980963 w 25985119"/>
                <a:gd name="connsiteY3" fmla="*/ 1363277 h 3254887"/>
                <a:gd name="connsiteX4" fmla="*/ 24606279 w 25985119"/>
                <a:gd name="connsiteY4" fmla="*/ 2406200 h 3254887"/>
                <a:gd name="connsiteX5" fmla="*/ 2317556 w 25985119"/>
                <a:gd name="connsiteY5" fmla="*/ 2456409 h 3254887"/>
                <a:gd name="connsiteX6" fmla="*/ 1174354 w 25985119"/>
                <a:gd name="connsiteY6" fmla="*/ 3254887 h 3254887"/>
                <a:gd name="connsiteX7" fmla="*/ 0 w 25985119"/>
                <a:gd name="connsiteY7" fmla="*/ 2456411 h 3254887"/>
                <a:gd name="connsiteX0" fmla="*/ 17005 w 25907150"/>
                <a:gd name="connsiteY0" fmla="*/ 2427806 h 3254887"/>
                <a:gd name="connsiteX1" fmla="*/ 0 w 25907150"/>
                <a:gd name="connsiteY1" fmla="*/ 0 h 3254887"/>
                <a:gd name="connsiteX2" fmla="*/ 25907099 w 25907150"/>
                <a:gd name="connsiteY2" fmla="*/ 2261 h 3254887"/>
                <a:gd name="connsiteX3" fmla="*/ 25902994 w 25907150"/>
                <a:gd name="connsiteY3" fmla="*/ 1363277 h 3254887"/>
                <a:gd name="connsiteX4" fmla="*/ 24528310 w 25907150"/>
                <a:gd name="connsiteY4" fmla="*/ 2406200 h 3254887"/>
                <a:gd name="connsiteX5" fmla="*/ 2239587 w 25907150"/>
                <a:gd name="connsiteY5" fmla="*/ 2456409 h 3254887"/>
                <a:gd name="connsiteX6" fmla="*/ 1096385 w 25907150"/>
                <a:gd name="connsiteY6" fmla="*/ 3254887 h 3254887"/>
                <a:gd name="connsiteX7" fmla="*/ 17005 w 25907150"/>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09 h 3254887"/>
                <a:gd name="connsiteX6" fmla="*/ 1100487 w 25911252"/>
                <a:gd name="connsiteY6" fmla="*/ 3254887 h 3254887"/>
                <a:gd name="connsiteX7" fmla="*/ 0 w 25911252"/>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11 h 3254887"/>
                <a:gd name="connsiteX6" fmla="*/ 1100487 w 25911252"/>
                <a:gd name="connsiteY6" fmla="*/ 3254887 h 3254887"/>
                <a:gd name="connsiteX7" fmla="*/ 0 w 25911252"/>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11 h 3254887"/>
                <a:gd name="connsiteX6" fmla="*/ 1100487 w 25911252"/>
                <a:gd name="connsiteY6" fmla="*/ 3254887 h 3254887"/>
                <a:gd name="connsiteX7" fmla="*/ 0 w 25911252"/>
                <a:gd name="connsiteY7" fmla="*/ 2427806 h 3254887"/>
                <a:gd name="connsiteX0" fmla="*/ 0 w 25915879"/>
                <a:gd name="connsiteY0" fmla="*/ 2447870 h 3254887"/>
                <a:gd name="connsiteX1" fmla="*/ 8729 w 25915879"/>
                <a:gd name="connsiteY1" fmla="*/ 0 h 3254887"/>
                <a:gd name="connsiteX2" fmla="*/ 25915828 w 25915879"/>
                <a:gd name="connsiteY2" fmla="*/ 2261 h 3254887"/>
                <a:gd name="connsiteX3" fmla="*/ 25911723 w 25915879"/>
                <a:gd name="connsiteY3" fmla="*/ 1363277 h 3254887"/>
                <a:gd name="connsiteX4" fmla="*/ 24537039 w 25915879"/>
                <a:gd name="connsiteY4" fmla="*/ 2406200 h 3254887"/>
                <a:gd name="connsiteX5" fmla="*/ 2248316 w 25915879"/>
                <a:gd name="connsiteY5" fmla="*/ 2456411 h 3254887"/>
                <a:gd name="connsiteX6" fmla="*/ 1105114 w 25915879"/>
                <a:gd name="connsiteY6" fmla="*/ 3254887 h 3254887"/>
                <a:gd name="connsiteX7" fmla="*/ 0 w 25915879"/>
                <a:gd name="connsiteY7" fmla="*/ 2447870 h 3254887"/>
                <a:gd name="connsiteX0" fmla="*/ 0 w 25915879"/>
                <a:gd name="connsiteY0" fmla="*/ 2447870 h 3254887"/>
                <a:gd name="connsiteX1" fmla="*/ 8729 w 25915879"/>
                <a:gd name="connsiteY1" fmla="*/ 0 h 3254887"/>
                <a:gd name="connsiteX2" fmla="*/ 25915828 w 25915879"/>
                <a:gd name="connsiteY2" fmla="*/ 2261 h 3254887"/>
                <a:gd name="connsiteX3" fmla="*/ 25911723 w 25915879"/>
                <a:gd name="connsiteY3" fmla="*/ 1363277 h 3254887"/>
                <a:gd name="connsiteX4" fmla="*/ 24537039 w 25915879"/>
                <a:gd name="connsiteY4" fmla="*/ 2406200 h 3254887"/>
                <a:gd name="connsiteX5" fmla="*/ 2248316 w 25915879"/>
                <a:gd name="connsiteY5" fmla="*/ 2456411 h 3254887"/>
                <a:gd name="connsiteX6" fmla="*/ 1105114 w 25915879"/>
                <a:gd name="connsiteY6" fmla="*/ 3254887 h 3254887"/>
                <a:gd name="connsiteX7" fmla="*/ 0 w 25915879"/>
                <a:gd name="connsiteY7" fmla="*/ 2447870 h 3254887"/>
                <a:gd name="connsiteX0" fmla="*/ 0 w 25915879"/>
                <a:gd name="connsiteY0" fmla="*/ 2447870 h 3169172"/>
                <a:gd name="connsiteX1" fmla="*/ 8729 w 25915879"/>
                <a:gd name="connsiteY1" fmla="*/ 0 h 3169172"/>
                <a:gd name="connsiteX2" fmla="*/ 25915828 w 25915879"/>
                <a:gd name="connsiteY2" fmla="*/ 2261 h 3169172"/>
                <a:gd name="connsiteX3" fmla="*/ 25911723 w 25915879"/>
                <a:gd name="connsiteY3" fmla="*/ 1363277 h 3169172"/>
                <a:gd name="connsiteX4" fmla="*/ 24537039 w 25915879"/>
                <a:gd name="connsiteY4" fmla="*/ 2406200 h 3169172"/>
                <a:gd name="connsiteX5" fmla="*/ 2248316 w 25915879"/>
                <a:gd name="connsiteY5" fmla="*/ 2456411 h 3169172"/>
                <a:gd name="connsiteX6" fmla="*/ 1105113 w 25915879"/>
                <a:gd name="connsiteY6" fmla="*/ 3169172 h 3169172"/>
                <a:gd name="connsiteX7" fmla="*/ 0 w 25915879"/>
                <a:gd name="connsiteY7" fmla="*/ 2447870 h 3169172"/>
                <a:gd name="connsiteX0" fmla="*/ 0 w 25915879"/>
                <a:gd name="connsiteY0" fmla="*/ 2447870 h 3169172"/>
                <a:gd name="connsiteX1" fmla="*/ 8729 w 25915879"/>
                <a:gd name="connsiteY1" fmla="*/ 0 h 3169172"/>
                <a:gd name="connsiteX2" fmla="*/ 25915828 w 25915879"/>
                <a:gd name="connsiteY2" fmla="*/ 2261 h 3169172"/>
                <a:gd name="connsiteX3" fmla="*/ 25911723 w 25915879"/>
                <a:gd name="connsiteY3" fmla="*/ 1363277 h 3169172"/>
                <a:gd name="connsiteX4" fmla="*/ 24537039 w 25915879"/>
                <a:gd name="connsiteY4" fmla="*/ 2406200 h 3169172"/>
                <a:gd name="connsiteX5" fmla="*/ 2248316 w 25915879"/>
                <a:gd name="connsiteY5" fmla="*/ 2456411 h 3169172"/>
                <a:gd name="connsiteX6" fmla="*/ 1137451 w 25915879"/>
                <a:gd name="connsiteY6" fmla="*/ 3169172 h 3169172"/>
                <a:gd name="connsiteX7" fmla="*/ 0 w 25915879"/>
                <a:gd name="connsiteY7" fmla="*/ 2447870 h 3169172"/>
                <a:gd name="connsiteX0" fmla="*/ 0 w 25915879"/>
                <a:gd name="connsiteY0" fmla="*/ 2447870 h 3021118"/>
                <a:gd name="connsiteX1" fmla="*/ 8729 w 25915879"/>
                <a:gd name="connsiteY1" fmla="*/ 0 h 3021118"/>
                <a:gd name="connsiteX2" fmla="*/ 25915828 w 25915879"/>
                <a:gd name="connsiteY2" fmla="*/ 2261 h 3021118"/>
                <a:gd name="connsiteX3" fmla="*/ 25911723 w 25915879"/>
                <a:gd name="connsiteY3" fmla="*/ 1363277 h 3021118"/>
                <a:gd name="connsiteX4" fmla="*/ 24537039 w 25915879"/>
                <a:gd name="connsiteY4" fmla="*/ 2406200 h 3021118"/>
                <a:gd name="connsiteX5" fmla="*/ 2248316 w 25915879"/>
                <a:gd name="connsiteY5" fmla="*/ 2456411 h 3021118"/>
                <a:gd name="connsiteX6" fmla="*/ 1133859 w 25915879"/>
                <a:gd name="connsiteY6" fmla="*/ 3021118 h 3021118"/>
                <a:gd name="connsiteX7" fmla="*/ 0 w 25915879"/>
                <a:gd name="connsiteY7" fmla="*/ 2447870 h 3021118"/>
                <a:gd name="connsiteX0" fmla="*/ 0 w 25915879"/>
                <a:gd name="connsiteY0" fmla="*/ 2447870 h 3138002"/>
                <a:gd name="connsiteX1" fmla="*/ 8729 w 25915879"/>
                <a:gd name="connsiteY1" fmla="*/ 0 h 3138002"/>
                <a:gd name="connsiteX2" fmla="*/ 25915828 w 25915879"/>
                <a:gd name="connsiteY2" fmla="*/ 2261 h 3138002"/>
                <a:gd name="connsiteX3" fmla="*/ 25911723 w 25915879"/>
                <a:gd name="connsiteY3" fmla="*/ 1363277 h 3138002"/>
                <a:gd name="connsiteX4" fmla="*/ 24537039 w 25915879"/>
                <a:gd name="connsiteY4" fmla="*/ 2406200 h 3138002"/>
                <a:gd name="connsiteX5" fmla="*/ 2248316 w 25915879"/>
                <a:gd name="connsiteY5" fmla="*/ 2456411 h 3138002"/>
                <a:gd name="connsiteX6" fmla="*/ 1141043 w 25915879"/>
                <a:gd name="connsiteY6" fmla="*/ 3138002 h 3138002"/>
                <a:gd name="connsiteX7" fmla="*/ 0 w 25915879"/>
                <a:gd name="connsiteY7" fmla="*/ 2447870 h 3138002"/>
                <a:gd name="connsiteX0" fmla="*/ 0 w 25915879"/>
                <a:gd name="connsiteY0" fmla="*/ 2447870 h 3138002"/>
                <a:gd name="connsiteX1" fmla="*/ 8729 w 25915879"/>
                <a:gd name="connsiteY1" fmla="*/ 0 h 3138002"/>
                <a:gd name="connsiteX2" fmla="*/ 25915828 w 25915879"/>
                <a:gd name="connsiteY2" fmla="*/ 2261 h 3138002"/>
                <a:gd name="connsiteX3" fmla="*/ 25911723 w 25915879"/>
                <a:gd name="connsiteY3" fmla="*/ 1363277 h 3138002"/>
                <a:gd name="connsiteX4" fmla="*/ 24537039 w 25915879"/>
                <a:gd name="connsiteY4" fmla="*/ 2406200 h 3138002"/>
                <a:gd name="connsiteX5" fmla="*/ 2248316 w 25915879"/>
                <a:gd name="connsiteY5" fmla="*/ 2456411 h 3138002"/>
                <a:gd name="connsiteX6" fmla="*/ 1141043 w 25915879"/>
                <a:gd name="connsiteY6" fmla="*/ 3138002 h 3138002"/>
                <a:gd name="connsiteX7" fmla="*/ 0 w 25915879"/>
                <a:gd name="connsiteY7" fmla="*/ 2447870 h 3138002"/>
                <a:gd name="connsiteX0" fmla="*/ 0 w 25915879"/>
                <a:gd name="connsiteY0" fmla="*/ 2447870 h 3149688"/>
                <a:gd name="connsiteX1" fmla="*/ 8729 w 25915879"/>
                <a:gd name="connsiteY1" fmla="*/ 0 h 3149688"/>
                <a:gd name="connsiteX2" fmla="*/ 25915828 w 25915879"/>
                <a:gd name="connsiteY2" fmla="*/ 2261 h 3149688"/>
                <a:gd name="connsiteX3" fmla="*/ 25911723 w 25915879"/>
                <a:gd name="connsiteY3" fmla="*/ 1363277 h 3149688"/>
                <a:gd name="connsiteX4" fmla="*/ 24537039 w 25915879"/>
                <a:gd name="connsiteY4" fmla="*/ 2406200 h 3149688"/>
                <a:gd name="connsiteX5" fmla="*/ 2248316 w 25915879"/>
                <a:gd name="connsiteY5" fmla="*/ 2456411 h 3149688"/>
                <a:gd name="connsiteX6" fmla="*/ 1137451 w 25915879"/>
                <a:gd name="connsiteY6" fmla="*/ 3149688 h 3149688"/>
                <a:gd name="connsiteX7" fmla="*/ 0 w 25915879"/>
                <a:gd name="connsiteY7" fmla="*/ 2447870 h 3149688"/>
                <a:gd name="connsiteX0" fmla="*/ 0 w 25915879"/>
                <a:gd name="connsiteY0" fmla="*/ 2447870 h 3161374"/>
                <a:gd name="connsiteX1" fmla="*/ 8729 w 25915879"/>
                <a:gd name="connsiteY1" fmla="*/ 0 h 3161374"/>
                <a:gd name="connsiteX2" fmla="*/ 25915828 w 25915879"/>
                <a:gd name="connsiteY2" fmla="*/ 2261 h 3161374"/>
                <a:gd name="connsiteX3" fmla="*/ 25911723 w 25915879"/>
                <a:gd name="connsiteY3" fmla="*/ 1363277 h 3161374"/>
                <a:gd name="connsiteX4" fmla="*/ 24537039 w 25915879"/>
                <a:gd name="connsiteY4" fmla="*/ 2406200 h 3161374"/>
                <a:gd name="connsiteX5" fmla="*/ 2248316 w 25915879"/>
                <a:gd name="connsiteY5" fmla="*/ 2456411 h 3161374"/>
                <a:gd name="connsiteX6" fmla="*/ 1137451 w 25915879"/>
                <a:gd name="connsiteY6" fmla="*/ 3161374 h 3161374"/>
                <a:gd name="connsiteX7" fmla="*/ 0 w 25915879"/>
                <a:gd name="connsiteY7" fmla="*/ 2447870 h 316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15879" h="3161374">
                  <a:moveTo>
                    <a:pt x="0" y="2447870"/>
                  </a:moveTo>
                  <a:cubicBezTo>
                    <a:pt x="1367" y="1638601"/>
                    <a:pt x="7362" y="809269"/>
                    <a:pt x="8729" y="0"/>
                  </a:cubicBezTo>
                  <a:lnTo>
                    <a:pt x="25915828" y="2261"/>
                  </a:lnTo>
                  <a:cubicBezTo>
                    <a:pt x="25916341" y="69861"/>
                    <a:pt x="25912977" y="1319862"/>
                    <a:pt x="25911723" y="1363277"/>
                  </a:cubicBezTo>
                  <a:cubicBezTo>
                    <a:pt x="25915358" y="2480438"/>
                    <a:pt x="24907606" y="2405976"/>
                    <a:pt x="24537039" y="2406200"/>
                  </a:cubicBezTo>
                  <a:lnTo>
                    <a:pt x="2248316" y="2456411"/>
                  </a:lnTo>
                  <a:cubicBezTo>
                    <a:pt x="1655273" y="2466668"/>
                    <a:pt x="1329060" y="2698552"/>
                    <a:pt x="1137451" y="3161374"/>
                  </a:cubicBezTo>
                  <a:cubicBezTo>
                    <a:pt x="849876" y="2508248"/>
                    <a:pt x="329529" y="2457025"/>
                    <a:pt x="0" y="2447870"/>
                  </a:cubicBezTo>
                  <a:close/>
                </a:path>
              </a:pathLst>
            </a:custGeom>
            <a:solidFill>
              <a:schemeClr val="bg1"/>
            </a:solidFill>
            <a:ln w="12700" cmpd="sng" algn="ctr">
              <a:noFill/>
              <a:miter lim="800000"/>
              <a:headEnd/>
              <a:tailEnd/>
            </a:ln>
            <a:effectLst/>
          </p:spPr>
          <p:txBody>
            <a:bodyPr wrap="square" lIns="33059" tIns="42974" rIns="33059" bIns="42974" rtlCol="0" anchor="ctr"/>
            <a:lstStyle/>
            <a:p>
              <a:pPr algn="ctr" fontAlgn="auto">
                <a:spcBef>
                  <a:spcPts val="0"/>
                </a:spcBef>
                <a:spcAft>
                  <a:spcPts val="0"/>
                </a:spcAft>
              </a:pPr>
              <a:endParaRPr lang="en-US" sz="1333" dirty="0">
                <a:solidFill>
                  <a:schemeClr val="bg1"/>
                </a:solidFill>
                <a:latin typeface="Arial" pitchFamily="34" charset="0"/>
                <a:cs typeface="Arial" pitchFamily="34" charset="0"/>
              </a:endParaRPr>
            </a:p>
          </p:txBody>
        </p:sp>
        <p:sp>
          <p:nvSpPr>
            <p:cNvPr id="7" name="Rectangle 7"/>
            <p:cNvSpPr/>
            <p:nvPr userDrawn="1">
              <p:custDataLst>
                <p:tags r:id="rId4"/>
              </p:custDataLst>
            </p:nvPr>
          </p:nvSpPr>
          <p:spPr bwMode="auto">
            <a:xfrm>
              <a:off x="-3993" y="434757"/>
              <a:ext cx="9162288" cy="58543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17461"/>
                <a:gd name="connsiteY0" fmla="*/ 726087 h 4303631"/>
                <a:gd name="connsiteX1" fmla="*/ 21716773 w 21717461"/>
                <a:gd name="connsiteY1" fmla="*/ 54 h 4303631"/>
                <a:gd name="connsiteX2" fmla="*/ 21716773 w 21717461"/>
                <a:gd name="connsiteY2" fmla="*/ 3144336 h 4303631"/>
                <a:gd name="connsiteX3" fmla="*/ 20922482 w 21717461"/>
                <a:gd name="connsiteY3" fmla="*/ 3529321 h 4303631"/>
                <a:gd name="connsiteX4" fmla="*/ 4242445 w 21717461"/>
                <a:gd name="connsiteY4" fmla="*/ 3505153 h 4303631"/>
                <a:gd name="connsiteX5" fmla="*/ 3099243 w 21717461"/>
                <a:gd name="connsiteY5" fmla="*/ 4303631 h 4303631"/>
                <a:gd name="connsiteX6" fmla="*/ 1924889 w 21717461"/>
                <a:gd name="connsiteY6" fmla="*/ 3505153 h 4303631"/>
                <a:gd name="connsiteX7" fmla="*/ 22601 w 21717461"/>
                <a:gd name="connsiteY7" fmla="*/ 3505153 h 4303631"/>
                <a:gd name="connsiteX8" fmla="*/ 0 w 21717461"/>
                <a:gd name="connsiteY8" fmla="*/ 726087 h 4303631"/>
                <a:gd name="connsiteX0" fmla="*/ 0 w 21694863"/>
                <a:gd name="connsiteY0" fmla="*/ 258723 h 4303719"/>
                <a:gd name="connsiteX1" fmla="*/ 21694175 w 21694863"/>
                <a:gd name="connsiteY1" fmla="*/ 142 h 4303719"/>
                <a:gd name="connsiteX2" fmla="*/ 21694175 w 21694863"/>
                <a:gd name="connsiteY2" fmla="*/ 3144424 h 4303719"/>
                <a:gd name="connsiteX3" fmla="*/ 20899884 w 21694863"/>
                <a:gd name="connsiteY3" fmla="*/ 3529409 h 4303719"/>
                <a:gd name="connsiteX4" fmla="*/ 4219847 w 21694863"/>
                <a:gd name="connsiteY4" fmla="*/ 3505241 h 4303719"/>
                <a:gd name="connsiteX5" fmla="*/ 3076645 w 21694863"/>
                <a:gd name="connsiteY5" fmla="*/ 4303719 h 4303719"/>
                <a:gd name="connsiteX6" fmla="*/ 1902291 w 21694863"/>
                <a:gd name="connsiteY6" fmla="*/ 3505241 h 4303719"/>
                <a:gd name="connsiteX7" fmla="*/ 3 w 21694863"/>
                <a:gd name="connsiteY7" fmla="*/ 3505241 h 4303719"/>
                <a:gd name="connsiteX8" fmla="*/ 0 w 21694863"/>
                <a:gd name="connsiteY8" fmla="*/ 258723 h 4303719"/>
                <a:gd name="connsiteX0" fmla="*/ 0 w 21716780"/>
                <a:gd name="connsiteY0" fmla="*/ 0 h 4044996"/>
                <a:gd name="connsiteX1" fmla="*/ 21716773 w 21716780"/>
                <a:gd name="connsiteY1" fmla="*/ 816560 h 4044996"/>
                <a:gd name="connsiteX2" fmla="*/ 21694175 w 21716780"/>
                <a:gd name="connsiteY2" fmla="*/ 2885701 h 4044996"/>
                <a:gd name="connsiteX3" fmla="*/ 20899884 w 21716780"/>
                <a:gd name="connsiteY3" fmla="*/ 3270686 h 4044996"/>
                <a:gd name="connsiteX4" fmla="*/ 4219847 w 21716780"/>
                <a:gd name="connsiteY4" fmla="*/ 3246518 h 4044996"/>
                <a:gd name="connsiteX5" fmla="*/ 3076645 w 21716780"/>
                <a:gd name="connsiteY5" fmla="*/ 4044996 h 4044996"/>
                <a:gd name="connsiteX6" fmla="*/ 1902291 w 21716780"/>
                <a:gd name="connsiteY6" fmla="*/ 3246518 h 4044996"/>
                <a:gd name="connsiteX7" fmla="*/ 3 w 21716780"/>
                <a:gd name="connsiteY7" fmla="*/ 3246518 h 4044996"/>
                <a:gd name="connsiteX8" fmla="*/ 0 w 21716780"/>
                <a:gd name="connsiteY8" fmla="*/ 0 h 4044996"/>
                <a:gd name="connsiteX0" fmla="*/ 0 w 21716780"/>
                <a:gd name="connsiteY0" fmla="*/ 0 h 4044996"/>
                <a:gd name="connsiteX1" fmla="*/ 21716773 w 21716780"/>
                <a:gd name="connsiteY1" fmla="*/ 45263 h 4044996"/>
                <a:gd name="connsiteX2" fmla="*/ 21694175 w 21716780"/>
                <a:gd name="connsiteY2" fmla="*/ 2885701 h 4044996"/>
                <a:gd name="connsiteX3" fmla="*/ 20899884 w 21716780"/>
                <a:gd name="connsiteY3" fmla="*/ 3270686 h 4044996"/>
                <a:gd name="connsiteX4" fmla="*/ 4219847 w 21716780"/>
                <a:gd name="connsiteY4" fmla="*/ 3246518 h 4044996"/>
                <a:gd name="connsiteX5" fmla="*/ 3076645 w 21716780"/>
                <a:gd name="connsiteY5" fmla="*/ 4044996 h 4044996"/>
                <a:gd name="connsiteX6" fmla="*/ 1902291 w 21716780"/>
                <a:gd name="connsiteY6" fmla="*/ 3246518 h 4044996"/>
                <a:gd name="connsiteX7" fmla="*/ 3 w 21716780"/>
                <a:gd name="connsiteY7" fmla="*/ 3246518 h 4044996"/>
                <a:gd name="connsiteX8" fmla="*/ 0 w 21716780"/>
                <a:gd name="connsiteY8" fmla="*/ 0 h 4044996"/>
                <a:gd name="connsiteX0" fmla="*/ 0 w 21699862"/>
                <a:gd name="connsiteY0" fmla="*/ 0 h 4044996"/>
                <a:gd name="connsiteX1" fmla="*/ 21699824 w 21699862"/>
                <a:gd name="connsiteY1" fmla="*/ 33578 h 4044996"/>
                <a:gd name="connsiteX2" fmla="*/ 21694175 w 21699862"/>
                <a:gd name="connsiteY2" fmla="*/ 2885701 h 4044996"/>
                <a:gd name="connsiteX3" fmla="*/ 20899884 w 21699862"/>
                <a:gd name="connsiteY3" fmla="*/ 3270686 h 4044996"/>
                <a:gd name="connsiteX4" fmla="*/ 4219847 w 21699862"/>
                <a:gd name="connsiteY4" fmla="*/ 3246518 h 4044996"/>
                <a:gd name="connsiteX5" fmla="*/ 3076645 w 21699862"/>
                <a:gd name="connsiteY5" fmla="*/ 4044996 h 4044996"/>
                <a:gd name="connsiteX6" fmla="*/ 1902291 w 21699862"/>
                <a:gd name="connsiteY6" fmla="*/ 3246518 h 4044996"/>
                <a:gd name="connsiteX7" fmla="*/ 3 w 21699862"/>
                <a:gd name="connsiteY7" fmla="*/ 3246518 h 4044996"/>
                <a:gd name="connsiteX8" fmla="*/ 0 w 21699862"/>
                <a:gd name="connsiteY8" fmla="*/ 0 h 4044996"/>
                <a:gd name="connsiteX0" fmla="*/ 0 w 21699862"/>
                <a:gd name="connsiteY0" fmla="*/ 0 h 4044996"/>
                <a:gd name="connsiteX1" fmla="*/ 21699824 w 21699862"/>
                <a:gd name="connsiteY1" fmla="*/ 33578 h 4044996"/>
                <a:gd name="connsiteX2" fmla="*/ 21694175 w 21699862"/>
                <a:gd name="connsiteY2" fmla="*/ 2885701 h 4044996"/>
                <a:gd name="connsiteX3" fmla="*/ 20899884 w 21699862"/>
                <a:gd name="connsiteY3" fmla="*/ 3270686 h 4044996"/>
                <a:gd name="connsiteX4" fmla="*/ 4219847 w 21699862"/>
                <a:gd name="connsiteY4" fmla="*/ 3246518 h 4044996"/>
                <a:gd name="connsiteX5" fmla="*/ 3076645 w 21699862"/>
                <a:gd name="connsiteY5" fmla="*/ 4044996 h 4044996"/>
                <a:gd name="connsiteX6" fmla="*/ 1902291 w 21699862"/>
                <a:gd name="connsiteY6" fmla="*/ 3246518 h 4044996"/>
                <a:gd name="connsiteX7" fmla="*/ 1034633 w 21699862"/>
                <a:gd name="connsiteY7" fmla="*/ 3253993 h 4044996"/>
                <a:gd name="connsiteX8" fmla="*/ 3 w 21699862"/>
                <a:gd name="connsiteY8" fmla="*/ 3246518 h 4044996"/>
                <a:gd name="connsiteX9" fmla="*/ 0 w 21699862"/>
                <a:gd name="connsiteY9" fmla="*/ 0 h 4044996"/>
                <a:gd name="connsiteX0" fmla="*/ 0 w 21699862"/>
                <a:gd name="connsiteY0" fmla="*/ 22627 h 4067623"/>
                <a:gd name="connsiteX1" fmla="*/ 1034633 w 21699862"/>
                <a:gd name="connsiteY1" fmla="*/ 0 h 4067623"/>
                <a:gd name="connsiteX2" fmla="*/ 21699824 w 21699862"/>
                <a:gd name="connsiteY2" fmla="*/ 56205 h 4067623"/>
                <a:gd name="connsiteX3" fmla="*/ 21694175 w 21699862"/>
                <a:gd name="connsiteY3" fmla="*/ 2908328 h 4067623"/>
                <a:gd name="connsiteX4" fmla="*/ 20899884 w 21699862"/>
                <a:gd name="connsiteY4" fmla="*/ 3293313 h 4067623"/>
                <a:gd name="connsiteX5" fmla="*/ 4219847 w 21699862"/>
                <a:gd name="connsiteY5" fmla="*/ 3269145 h 4067623"/>
                <a:gd name="connsiteX6" fmla="*/ 3076645 w 21699862"/>
                <a:gd name="connsiteY6" fmla="*/ 4067623 h 4067623"/>
                <a:gd name="connsiteX7" fmla="*/ 1902291 w 21699862"/>
                <a:gd name="connsiteY7" fmla="*/ 3269145 h 4067623"/>
                <a:gd name="connsiteX8" fmla="*/ 1034633 w 21699862"/>
                <a:gd name="connsiteY8" fmla="*/ 3276620 h 4067623"/>
                <a:gd name="connsiteX9" fmla="*/ 3 w 21699862"/>
                <a:gd name="connsiteY9" fmla="*/ 3269145 h 4067623"/>
                <a:gd name="connsiteX10" fmla="*/ 0 w 21699862"/>
                <a:gd name="connsiteY10" fmla="*/ 22627 h 4067623"/>
                <a:gd name="connsiteX0" fmla="*/ 893057 w 22592916"/>
                <a:gd name="connsiteY0" fmla="*/ 3269145 h 4067623"/>
                <a:gd name="connsiteX1" fmla="*/ 1927687 w 22592916"/>
                <a:gd name="connsiteY1" fmla="*/ 0 h 4067623"/>
                <a:gd name="connsiteX2" fmla="*/ 22592878 w 22592916"/>
                <a:gd name="connsiteY2" fmla="*/ 56205 h 4067623"/>
                <a:gd name="connsiteX3" fmla="*/ 22587229 w 22592916"/>
                <a:gd name="connsiteY3" fmla="*/ 2908328 h 4067623"/>
                <a:gd name="connsiteX4" fmla="*/ 21792938 w 22592916"/>
                <a:gd name="connsiteY4" fmla="*/ 3293313 h 4067623"/>
                <a:gd name="connsiteX5" fmla="*/ 5112901 w 22592916"/>
                <a:gd name="connsiteY5" fmla="*/ 3269145 h 4067623"/>
                <a:gd name="connsiteX6" fmla="*/ 3969699 w 22592916"/>
                <a:gd name="connsiteY6" fmla="*/ 4067623 h 4067623"/>
                <a:gd name="connsiteX7" fmla="*/ 2795345 w 22592916"/>
                <a:gd name="connsiteY7" fmla="*/ 3269145 h 4067623"/>
                <a:gd name="connsiteX8" fmla="*/ 1927687 w 22592916"/>
                <a:gd name="connsiteY8" fmla="*/ 3276620 h 4067623"/>
                <a:gd name="connsiteX9" fmla="*/ 893057 w 22592916"/>
                <a:gd name="connsiteY9" fmla="*/ 3269145 h 4067623"/>
                <a:gd name="connsiteX0" fmla="*/ 0 w 20665229"/>
                <a:gd name="connsiteY0" fmla="*/ 3276620 h 4067623"/>
                <a:gd name="connsiteX1" fmla="*/ 0 w 20665229"/>
                <a:gd name="connsiteY1" fmla="*/ 0 h 4067623"/>
                <a:gd name="connsiteX2" fmla="*/ 20665191 w 20665229"/>
                <a:gd name="connsiteY2" fmla="*/ 56205 h 4067623"/>
                <a:gd name="connsiteX3" fmla="*/ 20659542 w 20665229"/>
                <a:gd name="connsiteY3" fmla="*/ 2908328 h 4067623"/>
                <a:gd name="connsiteX4" fmla="*/ 19865251 w 20665229"/>
                <a:gd name="connsiteY4" fmla="*/ 3293313 h 4067623"/>
                <a:gd name="connsiteX5" fmla="*/ 3185214 w 20665229"/>
                <a:gd name="connsiteY5" fmla="*/ 3269145 h 4067623"/>
                <a:gd name="connsiteX6" fmla="*/ 2042012 w 20665229"/>
                <a:gd name="connsiteY6" fmla="*/ 4067623 h 4067623"/>
                <a:gd name="connsiteX7" fmla="*/ 867658 w 20665229"/>
                <a:gd name="connsiteY7" fmla="*/ 3269145 h 4067623"/>
                <a:gd name="connsiteX8" fmla="*/ 0 w 20665229"/>
                <a:gd name="connsiteY8" fmla="*/ 3276620 h 4067623"/>
                <a:gd name="connsiteX0" fmla="*/ 30487 w 20695716"/>
                <a:gd name="connsiteY0" fmla="*/ 3247694 h 4038697"/>
                <a:gd name="connsiteX1" fmla="*/ 0 w 20695716"/>
                <a:gd name="connsiteY1" fmla="*/ 0 h 4038697"/>
                <a:gd name="connsiteX2" fmla="*/ 20695678 w 20695716"/>
                <a:gd name="connsiteY2" fmla="*/ 27279 h 4038697"/>
                <a:gd name="connsiteX3" fmla="*/ 20690029 w 20695716"/>
                <a:gd name="connsiteY3" fmla="*/ 2879402 h 4038697"/>
                <a:gd name="connsiteX4" fmla="*/ 19895738 w 20695716"/>
                <a:gd name="connsiteY4" fmla="*/ 3264387 h 4038697"/>
                <a:gd name="connsiteX5" fmla="*/ 3215701 w 20695716"/>
                <a:gd name="connsiteY5" fmla="*/ 3240219 h 4038697"/>
                <a:gd name="connsiteX6" fmla="*/ 2072499 w 20695716"/>
                <a:gd name="connsiteY6" fmla="*/ 4038697 h 4038697"/>
                <a:gd name="connsiteX7" fmla="*/ 898145 w 20695716"/>
                <a:gd name="connsiteY7" fmla="*/ 3240219 h 4038697"/>
                <a:gd name="connsiteX8" fmla="*/ 30487 w 20695716"/>
                <a:gd name="connsiteY8" fmla="*/ 3247694 h 4038697"/>
                <a:gd name="connsiteX0" fmla="*/ 7622 w 20695716"/>
                <a:gd name="connsiteY0" fmla="*/ 3231165 h 4038697"/>
                <a:gd name="connsiteX1" fmla="*/ 0 w 20695716"/>
                <a:gd name="connsiteY1" fmla="*/ 0 h 4038697"/>
                <a:gd name="connsiteX2" fmla="*/ 20695678 w 20695716"/>
                <a:gd name="connsiteY2" fmla="*/ 27279 h 4038697"/>
                <a:gd name="connsiteX3" fmla="*/ 20690029 w 20695716"/>
                <a:gd name="connsiteY3" fmla="*/ 2879402 h 4038697"/>
                <a:gd name="connsiteX4" fmla="*/ 19895738 w 20695716"/>
                <a:gd name="connsiteY4" fmla="*/ 3264387 h 4038697"/>
                <a:gd name="connsiteX5" fmla="*/ 3215701 w 20695716"/>
                <a:gd name="connsiteY5" fmla="*/ 3240219 h 4038697"/>
                <a:gd name="connsiteX6" fmla="*/ 2072499 w 20695716"/>
                <a:gd name="connsiteY6" fmla="*/ 4038697 h 4038697"/>
                <a:gd name="connsiteX7" fmla="*/ 898145 w 20695716"/>
                <a:gd name="connsiteY7" fmla="*/ 3240219 h 4038697"/>
                <a:gd name="connsiteX8" fmla="*/ 7622 w 20695716"/>
                <a:gd name="connsiteY8" fmla="*/ 3231165 h 4038697"/>
                <a:gd name="connsiteX0" fmla="*/ 7622 w 26846280"/>
                <a:gd name="connsiteY0" fmla="*/ 3231165 h 4038697"/>
                <a:gd name="connsiteX1" fmla="*/ 0 w 26846280"/>
                <a:gd name="connsiteY1" fmla="*/ 0 h 4038697"/>
                <a:gd name="connsiteX2" fmla="*/ 26846280 w 26846280"/>
                <a:gd name="connsiteY2" fmla="*/ 849000 h 4038697"/>
                <a:gd name="connsiteX3" fmla="*/ 20690029 w 26846280"/>
                <a:gd name="connsiteY3" fmla="*/ 2879402 h 4038697"/>
                <a:gd name="connsiteX4" fmla="*/ 19895738 w 26846280"/>
                <a:gd name="connsiteY4" fmla="*/ 3264387 h 4038697"/>
                <a:gd name="connsiteX5" fmla="*/ 3215701 w 26846280"/>
                <a:gd name="connsiteY5" fmla="*/ 3240219 h 4038697"/>
                <a:gd name="connsiteX6" fmla="*/ 2072499 w 26846280"/>
                <a:gd name="connsiteY6" fmla="*/ 4038697 h 4038697"/>
                <a:gd name="connsiteX7" fmla="*/ 898145 w 26846280"/>
                <a:gd name="connsiteY7" fmla="*/ 3240219 h 4038697"/>
                <a:gd name="connsiteX8" fmla="*/ 7622 w 26846280"/>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19895738 w 26879142"/>
                <a:gd name="connsiteY4" fmla="*/ 3264387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25989843 w 26879142"/>
                <a:gd name="connsiteY4" fmla="*/ 3195730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25989843 w 26879142"/>
                <a:gd name="connsiteY4" fmla="*/ 3195730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83264"/>
                <a:gd name="connsiteY0" fmla="*/ 3231165 h 4038697"/>
                <a:gd name="connsiteX1" fmla="*/ 0 w 26883264"/>
                <a:gd name="connsiteY1" fmla="*/ 0 h 4038697"/>
                <a:gd name="connsiteX2" fmla="*/ 26883213 w 26883264"/>
                <a:gd name="connsiteY2" fmla="*/ 797512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6 w 26875648"/>
                <a:gd name="connsiteY0" fmla="*/ 2733417 h 3540949"/>
                <a:gd name="connsiteX1" fmla="*/ 889350 w 26875648"/>
                <a:gd name="connsiteY1" fmla="*/ 0 h 3540949"/>
                <a:gd name="connsiteX2" fmla="*/ 26875597 w 26875648"/>
                <a:gd name="connsiteY2" fmla="*/ 288323 h 3540949"/>
                <a:gd name="connsiteX3" fmla="*/ 26871492 w 26875648"/>
                <a:gd name="connsiteY3" fmla="*/ 1649339 h 3540949"/>
                <a:gd name="connsiteX4" fmla="*/ 25496808 w 26875648"/>
                <a:gd name="connsiteY4" fmla="*/ 2692262 h 3540949"/>
                <a:gd name="connsiteX5" fmla="*/ 3208085 w 26875648"/>
                <a:gd name="connsiteY5" fmla="*/ 2742471 h 3540949"/>
                <a:gd name="connsiteX6" fmla="*/ 2064883 w 26875648"/>
                <a:gd name="connsiteY6" fmla="*/ 3540949 h 3540949"/>
                <a:gd name="connsiteX7" fmla="*/ 890529 w 26875648"/>
                <a:gd name="connsiteY7" fmla="*/ 2742471 h 3540949"/>
                <a:gd name="connsiteX8" fmla="*/ 6 w 26875648"/>
                <a:gd name="connsiteY8" fmla="*/ 2733417 h 3540949"/>
                <a:gd name="connsiteX0" fmla="*/ 6 w 26875648"/>
                <a:gd name="connsiteY0" fmla="*/ 2445094 h 3252626"/>
                <a:gd name="connsiteX1" fmla="*/ 894628 w 26875648"/>
                <a:gd name="connsiteY1" fmla="*/ 49230 h 3252626"/>
                <a:gd name="connsiteX2" fmla="*/ 26875597 w 26875648"/>
                <a:gd name="connsiteY2" fmla="*/ 0 h 3252626"/>
                <a:gd name="connsiteX3" fmla="*/ 26871492 w 26875648"/>
                <a:gd name="connsiteY3" fmla="*/ 1361016 h 3252626"/>
                <a:gd name="connsiteX4" fmla="*/ 25496808 w 26875648"/>
                <a:gd name="connsiteY4" fmla="*/ 2403939 h 3252626"/>
                <a:gd name="connsiteX5" fmla="*/ 3208085 w 26875648"/>
                <a:gd name="connsiteY5" fmla="*/ 2454148 h 3252626"/>
                <a:gd name="connsiteX6" fmla="*/ 2064883 w 26875648"/>
                <a:gd name="connsiteY6" fmla="*/ 3252626 h 3252626"/>
                <a:gd name="connsiteX7" fmla="*/ 890529 w 26875648"/>
                <a:gd name="connsiteY7" fmla="*/ 2454148 h 3252626"/>
                <a:gd name="connsiteX8" fmla="*/ 6 w 26875648"/>
                <a:gd name="connsiteY8" fmla="*/ 2445094 h 3252626"/>
                <a:gd name="connsiteX0" fmla="*/ 6 w 26875648"/>
                <a:gd name="connsiteY0" fmla="*/ 2447355 h 3254887"/>
                <a:gd name="connsiteX1" fmla="*/ 968498 w 26875648"/>
                <a:gd name="connsiteY1" fmla="*/ 0 h 3254887"/>
                <a:gd name="connsiteX2" fmla="*/ 26875597 w 26875648"/>
                <a:gd name="connsiteY2" fmla="*/ 2261 h 3254887"/>
                <a:gd name="connsiteX3" fmla="*/ 26871492 w 26875648"/>
                <a:gd name="connsiteY3" fmla="*/ 1363277 h 3254887"/>
                <a:gd name="connsiteX4" fmla="*/ 25496808 w 26875648"/>
                <a:gd name="connsiteY4" fmla="*/ 2406200 h 3254887"/>
                <a:gd name="connsiteX5" fmla="*/ 3208085 w 26875648"/>
                <a:gd name="connsiteY5" fmla="*/ 2456409 h 3254887"/>
                <a:gd name="connsiteX6" fmla="*/ 2064883 w 26875648"/>
                <a:gd name="connsiteY6" fmla="*/ 3254887 h 3254887"/>
                <a:gd name="connsiteX7" fmla="*/ 890529 w 26875648"/>
                <a:gd name="connsiteY7" fmla="*/ 2456409 h 3254887"/>
                <a:gd name="connsiteX8" fmla="*/ 6 w 26875648"/>
                <a:gd name="connsiteY8" fmla="*/ 2447355 h 3254887"/>
                <a:gd name="connsiteX0" fmla="*/ 6 w 26875648"/>
                <a:gd name="connsiteY0" fmla="*/ 2447355 h 3254887"/>
                <a:gd name="connsiteX1" fmla="*/ 968498 w 26875648"/>
                <a:gd name="connsiteY1" fmla="*/ 0 h 3254887"/>
                <a:gd name="connsiteX2" fmla="*/ 26875597 w 26875648"/>
                <a:gd name="connsiteY2" fmla="*/ 2261 h 3254887"/>
                <a:gd name="connsiteX3" fmla="*/ 26871492 w 26875648"/>
                <a:gd name="connsiteY3" fmla="*/ 1363277 h 3254887"/>
                <a:gd name="connsiteX4" fmla="*/ 25496808 w 26875648"/>
                <a:gd name="connsiteY4" fmla="*/ 2406200 h 3254887"/>
                <a:gd name="connsiteX5" fmla="*/ 3208085 w 26875648"/>
                <a:gd name="connsiteY5" fmla="*/ 2456409 h 3254887"/>
                <a:gd name="connsiteX6" fmla="*/ 2064883 w 26875648"/>
                <a:gd name="connsiteY6" fmla="*/ 3254887 h 3254887"/>
                <a:gd name="connsiteX7" fmla="*/ 890529 w 26875648"/>
                <a:gd name="connsiteY7" fmla="*/ 2456411 h 3254887"/>
                <a:gd name="connsiteX8" fmla="*/ 6 w 26875648"/>
                <a:gd name="connsiteY8" fmla="*/ 2447355 h 3254887"/>
                <a:gd name="connsiteX0" fmla="*/ 0 w 25985119"/>
                <a:gd name="connsiteY0" fmla="*/ 2456411 h 3254887"/>
                <a:gd name="connsiteX1" fmla="*/ 77969 w 25985119"/>
                <a:gd name="connsiteY1" fmla="*/ 0 h 3254887"/>
                <a:gd name="connsiteX2" fmla="*/ 25985068 w 25985119"/>
                <a:gd name="connsiteY2" fmla="*/ 2261 h 3254887"/>
                <a:gd name="connsiteX3" fmla="*/ 25980963 w 25985119"/>
                <a:gd name="connsiteY3" fmla="*/ 1363277 h 3254887"/>
                <a:gd name="connsiteX4" fmla="*/ 24606279 w 25985119"/>
                <a:gd name="connsiteY4" fmla="*/ 2406200 h 3254887"/>
                <a:gd name="connsiteX5" fmla="*/ 2317556 w 25985119"/>
                <a:gd name="connsiteY5" fmla="*/ 2456409 h 3254887"/>
                <a:gd name="connsiteX6" fmla="*/ 1174354 w 25985119"/>
                <a:gd name="connsiteY6" fmla="*/ 3254887 h 3254887"/>
                <a:gd name="connsiteX7" fmla="*/ 0 w 25985119"/>
                <a:gd name="connsiteY7" fmla="*/ 2456411 h 3254887"/>
                <a:gd name="connsiteX0" fmla="*/ 17005 w 25907150"/>
                <a:gd name="connsiteY0" fmla="*/ 2427806 h 3254887"/>
                <a:gd name="connsiteX1" fmla="*/ 0 w 25907150"/>
                <a:gd name="connsiteY1" fmla="*/ 0 h 3254887"/>
                <a:gd name="connsiteX2" fmla="*/ 25907099 w 25907150"/>
                <a:gd name="connsiteY2" fmla="*/ 2261 h 3254887"/>
                <a:gd name="connsiteX3" fmla="*/ 25902994 w 25907150"/>
                <a:gd name="connsiteY3" fmla="*/ 1363277 h 3254887"/>
                <a:gd name="connsiteX4" fmla="*/ 24528310 w 25907150"/>
                <a:gd name="connsiteY4" fmla="*/ 2406200 h 3254887"/>
                <a:gd name="connsiteX5" fmla="*/ 2239587 w 25907150"/>
                <a:gd name="connsiteY5" fmla="*/ 2456409 h 3254887"/>
                <a:gd name="connsiteX6" fmla="*/ 1096385 w 25907150"/>
                <a:gd name="connsiteY6" fmla="*/ 3254887 h 3254887"/>
                <a:gd name="connsiteX7" fmla="*/ 17005 w 25907150"/>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09 h 3254887"/>
                <a:gd name="connsiteX6" fmla="*/ 1100487 w 25911252"/>
                <a:gd name="connsiteY6" fmla="*/ 3254887 h 3254887"/>
                <a:gd name="connsiteX7" fmla="*/ 0 w 25911252"/>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11 h 3254887"/>
                <a:gd name="connsiteX6" fmla="*/ 1100487 w 25911252"/>
                <a:gd name="connsiteY6" fmla="*/ 3254887 h 3254887"/>
                <a:gd name="connsiteX7" fmla="*/ 0 w 25911252"/>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11 h 3254887"/>
                <a:gd name="connsiteX6" fmla="*/ 1100487 w 25911252"/>
                <a:gd name="connsiteY6" fmla="*/ 3254887 h 3254887"/>
                <a:gd name="connsiteX7" fmla="*/ 0 w 25911252"/>
                <a:gd name="connsiteY7" fmla="*/ 2427806 h 3254887"/>
                <a:gd name="connsiteX0" fmla="*/ 0 w 25915879"/>
                <a:gd name="connsiteY0" fmla="*/ 2447870 h 3254887"/>
                <a:gd name="connsiteX1" fmla="*/ 8729 w 25915879"/>
                <a:gd name="connsiteY1" fmla="*/ 0 h 3254887"/>
                <a:gd name="connsiteX2" fmla="*/ 25915828 w 25915879"/>
                <a:gd name="connsiteY2" fmla="*/ 2261 h 3254887"/>
                <a:gd name="connsiteX3" fmla="*/ 25911723 w 25915879"/>
                <a:gd name="connsiteY3" fmla="*/ 1363277 h 3254887"/>
                <a:gd name="connsiteX4" fmla="*/ 24537039 w 25915879"/>
                <a:gd name="connsiteY4" fmla="*/ 2406200 h 3254887"/>
                <a:gd name="connsiteX5" fmla="*/ 2248316 w 25915879"/>
                <a:gd name="connsiteY5" fmla="*/ 2456411 h 3254887"/>
                <a:gd name="connsiteX6" fmla="*/ 1105114 w 25915879"/>
                <a:gd name="connsiteY6" fmla="*/ 3254887 h 3254887"/>
                <a:gd name="connsiteX7" fmla="*/ 0 w 25915879"/>
                <a:gd name="connsiteY7" fmla="*/ 2447870 h 3254887"/>
                <a:gd name="connsiteX0" fmla="*/ 0 w 25915879"/>
                <a:gd name="connsiteY0" fmla="*/ 2447870 h 3254887"/>
                <a:gd name="connsiteX1" fmla="*/ 8729 w 25915879"/>
                <a:gd name="connsiteY1" fmla="*/ 0 h 3254887"/>
                <a:gd name="connsiteX2" fmla="*/ 25915828 w 25915879"/>
                <a:gd name="connsiteY2" fmla="*/ 2261 h 3254887"/>
                <a:gd name="connsiteX3" fmla="*/ 25911723 w 25915879"/>
                <a:gd name="connsiteY3" fmla="*/ 1363277 h 3254887"/>
                <a:gd name="connsiteX4" fmla="*/ 24537039 w 25915879"/>
                <a:gd name="connsiteY4" fmla="*/ 2406200 h 3254887"/>
                <a:gd name="connsiteX5" fmla="*/ 2248316 w 25915879"/>
                <a:gd name="connsiteY5" fmla="*/ 2456411 h 3254887"/>
                <a:gd name="connsiteX6" fmla="*/ 1105114 w 25915879"/>
                <a:gd name="connsiteY6" fmla="*/ 3254887 h 3254887"/>
                <a:gd name="connsiteX7" fmla="*/ 0 w 25915879"/>
                <a:gd name="connsiteY7" fmla="*/ 2447870 h 3254887"/>
                <a:gd name="connsiteX0" fmla="*/ 0 w 25915879"/>
                <a:gd name="connsiteY0" fmla="*/ 2447870 h 3169172"/>
                <a:gd name="connsiteX1" fmla="*/ 8729 w 25915879"/>
                <a:gd name="connsiteY1" fmla="*/ 0 h 3169172"/>
                <a:gd name="connsiteX2" fmla="*/ 25915828 w 25915879"/>
                <a:gd name="connsiteY2" fmla="*/ 2261 h 3169172"/>
                <a:gd name="connsiteX3" fmla="*/ 25911723 w 25915879"/>
                <a:gd name="connsiteY3" fmla="*/ 1363277 h 3169172"/>
                <a:gd name="connsiteX4" fmla="*/ 24537039 w 25915879"/>
                <a:gd name="connsiteY4" fmla="*/ 2406200 h 3169172"/>
                <a:gd name="connsiteX5" fmla="*/ 2248316 w 25915879"/>
                <a:gd name="connsiteY5" fmla="*/ 2456411 h 3169172"/>
                <a:gd name="connsiteX6" fmla="*/ 1105113 w 25915879"/>
                <a:gd name="connsiteY6" fmla="*/ 3169172 h 3169172"/>
                <a:gd name="connsiteX7" fmla="*/ 0 w 25915879"/>
                <a:gd name="connsiteY7" fmla="*/ 2447870 h 3169172"/>
                <a:gd name="connsiteX0" fmla="*/ 0 w 25915879"/>
                <a:gd name="connsiteY0" fmla="*/ 2447870 h 3169172"/>
                <a:gd name="connsiteX1" fmla="*/ 8729 w 25915879"/>
                <a:gd name="connsiteY1" fmla="*/ 0 h 3169172"/>
                <a:gd name="connsiteX2" fmla="*/ 25915828 w 25915879"/>
                <a:gd name="connsiteY2" fmla="*/ 2261 h 3169172"/>
                <a:gd name="connsiteX3" fmla="*/ 25911723 w 25915879"/>
                <a:gd name="connsiteY3" fmla="*/ 1363277 h 3169172"/>
                <a:gd name="connsiteX4" fmla="*/ 24537039 w 25915879"/>
                <a:gd name="connsiteY4" fmla="*/ 2406200 h 3169172"/>
                <a:gd name="connsiteX5" fmla="*/ 2248316 w 25915879"/>
                <a:gd name="connsiteY5" fmla="*/ 2456411 h 3169172"/>
                <a:gd name="connsiteX6" fmla="*/ 1137451 w 25915879"/>
                <a:gd name="connsiteY6" fmla="*/ 3169172 h 3169172"/>
                <a:gd name="connsiteX7" fmla="*/ 0 w 25915879"/>
                <a:gd name="connsiteY7" fmla="*/ 2447870 h 3169172"/>
                <a:gd name="connsiteX0" fmla="*/ 0 w 25915879"/>
                <a:gd name="connsiteY0" fmla="*/ 2447870 h 3021118"/>
                <a:gd name="connsiteX1" fmla="*/ 8729 w 25915879"/>
                <a:gd name="connsiteY1" fmla="*/ 0 h 3021118"/>
                <a:gd name="connsiteX2" fmla="*/ 25915828 w 25915879"/>
                <a:gd name="connsiteY2" fmla="*/ 2261 h 3021118"/>
                <a:gd name="connsiteX3" fmla="*/ 25911723 w 25915879"/>
                <a:gd name="connsiteY3" fmla="*/ 1363277 h 3021118"/>
                <a:gd name="connsiteX4" fmla="*/ 24537039 w 25915879"/>
                <a:gd name="connsiteY4" fmla="*/ 2406200 h 3021118"/>
                <a:gd name="connsiteX5" fmla="*/ 2248316 w 25915879"/>
                <a:gd name="connsiteY5" fmla="*/ 2456411 h 3021118"/>
                <a:gd name="connsiteX6" fmla="*/ 1133859 w 25915879"/>
                <a:gd name="connsiteY6" fmla="*/ 3021118 h 3021118"/>
                <a:gd name="connsiteX7" fmla="*/ 0 w 25915879"/>
                <a:gd name="connsiteY7" fmla="*/ 2447870 h 3021118"/>
                <a:gd name="connsiteX0" fmla="*/ 0 w 25915879"/>
                <a:gd name="connsiteY0" fmla="*/ 2447870 h 3138002"/>
                <a:gd name="connsiteX1" fmla="*/ 8729 w 25915879"/>
                <a:gd name="connsiteY1" fmla="*/ 0 h 3138002"/>
                <a:gd name="connsiteX2" fmla="*/ 25915828 w 25915879"/>
                <a:gd name="connsiteY2" fmla="*/ 2261 h 3138002"/>
                <a:gd name="connsiteX3" fmla="*/ 25911723 w 25915879"/>
                <a:gd name="connsiteY3" fmla="*/ 1363277 h 3138002"/>
                <a:gd name="connsiteX4" fmla="*/ 24537039 w 25915879"/>
                <a:gd name="connsiteY4" fmla="*/ 2406200 h 3138002"/>
                <a:gd name="connsiteX5" fmla="*/ 2248316 w 25915879"/>
                <a:gd name="connsiteY5" fmla="*/ 2456411 h 3138002"/>
                <a:gd name="connsiteX6" fmla="*/ 1141043 w 25915879"/>
                <a:gd name="connsiteY6" fmla="*/ 3138002 h 3138002"/>
                <a:gd name="connsiteX7" fmla="*/ 0 w 25915879"/>
                <a:gd name="connsiteY7" fmla="*/ 2447870 h 3138002"/>
                <a:gd name="connsiteX0" fmla="*/ 0 w 25915879"/>
                <a:gd name="connsiteY0" fmla="*/ 2447870 h 3138002"/>
                <a:gd name="connsiteX1" fmla="*/ 8729 w 25915879"/>
                <a:gd name="connsiteY1" fmla="*/ 0 h 3138002"/>
                <a:gd name="connsiteX2" fmla="*/ 25915828 w 25915879"/>
                <a:gd name="connsiteY2" fmla="*/ 2261 h 3138002"/>
                <a:gd name="connsiteX3" fmla="*/ 25911723 w 25915879"/>
                <a:gd name="connsiteY3" fmla="*/ 1363277 h 3138002"/>
                <a:gd name="connsiteX4" fmla="*/ 24537039 w 25915879"/>
                <a:gd name="connsiteY4" fmla="*/ 2406200 h 3138002"/>
                <a:gd name="connsiteX5" fmla="*/ 2248316 w 25915879"/>
                <a:gd name="connsiteY5" fmla="*/ 2456411 h 3138002"/>
                <a:gd name="connsiteX6" fmla="*/ 1141043 w 25915879"/>
                <a:gd name="connsiteY6" fmla="*/ 3138002 h 3138002"/>
                <a:gd name="connsiteX7" fmla="*/ 0 w 25915879"/>
                <a:gd name="connsiteY7" fmla="*/ 2447870 h 3138002"/>
                <a:gd name="connsiteX0" fmla="*/ 0 w 25915879"/>
                <a:gd name="connsiteY0" fmla="*/ 2447870 h 3149688"/>
                <a:gd name="connsiteX1" fmla="*/ 8729 w 25915879"/>
                <a:gd name="connsiteY1" fmla="*/ 0 h 3149688"/>
                <a:gd name="connsiteX2" fmla="*/ 25915828 w 25915879"/>
                <a:gd name="connsiteY2" fmla="*/ 2261 h 3149688"/>
                <a:gd name="connsiteX3" fmla="*/ 25911723 w 25915879"/>
                <a:gd name="connsiteY3" fmla="*/ 1363277 h 3149688"/>
                <a:gd name="connsiteX4" fmla="*/ 24537039 w 25915879"/>
                <a:gd name="connsiteY4" fmla="*/ 2406200 h 3149688"/>
                <a:gd name="connsiteX5" fmla="*/ 2248316 w 25915879"/>
                <a:gd name="connsiteY5" fmla="*/ 2456411 h 3149688"/>
                <a:gd name="connsiteX6" fmla="*/ 1137451 w 25915879"/>
                <a:gd name="connsiteY6" fmla="*/ 3149688 h 3149688"/>
                <a:gd name="connsiteX7" fmla="*/ 0 w 25915879"/>
                <a:gd name="connsiteY7" fmla="*/ 2447870 h 3149688"/>
                <a:gd name="connsiteX0" fmla="*/ 0 w 25915879"/>
                <a:gd name="connsiteY0" fmla="*/ 2447870 h 3161374"/>
                <a:gd name="connsiteX1" fmla="*/ 8729 w 25915879"/>
                <a:gd name="connsiteY1" fmla="*/ 0 h 3161374"/>
                <a:gd name="connsiteX2" fmla="*/ 25915828 w 25915879"/>
                <a:gd name="connsiteY2" fmla="*/ 2261 h 3161374"/>
                <a:gd name="connsiteX3" fmla="*/ 25911723 w 25915879"/>
                <a:gd name="connsiteY3" fmla="*/ 1363277 h 3161374"/>
                <a:gd name="connsiteX4" fmla="*/ 24537039 w 25915879"/>
                <a:gd name="connsiteY4" fmla="*/ 2406200 h 3161374"/>
                <a:gd name="connsiteX5" fmla="*/ 2248316 w 25915879"/>
                <a:gd name="connsiteY5" fmla="*/ 2456411 h 3161374"/>
                <a:gd name="connsiteX6" fmla="*/ 1137451 w 25915879"/>
                <a:gd name="connsiteY6" fmla="*/ 3161374 h 3161374"/>
                <a:gd name="connsiteX7" fmla="*/ 0 w 25915879"/>
                <a:gd name="connsiteY7" fmla="*/ 2447870 h 3161374"/>
                <a:gd name="connsiteX0" fmla="*/ 8729 w 25915879"/>
                <a:gd name="connsiteY0" fmla="*/ 0 h 3161374"/>
                <a:gd name="connsiteX1" fmla="*/ 25915828 w 25915879"/>
                <a:gd name="connsiteY1" fmla="*/ 2261 h 3161374"/>
                <a:gd name="connsiteX2" fmla="*/ 25911723 w 25915879"/>
                <a:gd name="connsiteY2" fmla="*/ 1363277 h 3161374"/>
                <a:gd name="connsiteX3" fmla="*/ 24537039 w 25915879"/>
                <a:gd name="connsiteY3" fmla="*/ 2406200 h 3161374"/>
                <a:gd name="connsiteX4" fmla="*/ 2248316 w 25915879"/>
                <a:gd name="connsiteY4" fmla="*/ 2456411 h 3161374"/>
                <a:gd name="connsiteX5" fmla="*/ 1137451 w 25915879"/>
                <a:gd name="connsiteY5" fmla="*/ 3161374 h 3161374"/>
                <a:gd name="connsiteX6" fmla="*/ 0 w 25915879"/>
                <a:gd name="connsiteY6" fmla="*/ 2447870 h 3161374"/>
                <a:gd name="connsiteX7" fmla="*/ 267794 w 25915879"/>
                <a:gd name="connsiteY7" fmla="*/ 280913 h 3161374"/>
                <a:gd name="connsiteX0" fmla="*/ 8729 w 25915879"/>
                <a:gd name="connsiteY0" fmla="*/ 0 h 3161374"/>
                <a:gd name="connsiteX1" fmla="*/ 25915828 w 25915879"/>
                <a:gd name="connsiteY1" fmla="*/ 2261 h 3161374"/>
                <a:gd name="connsiteX2" fmla="*/ 25911723 w 25915879"/>
                <a:gd name="connsiteY2" fmla="*/ 1363277 h 3161374"/>
                <a:gd name="connsiteX3" fmla="*/ 24537039 w 25915879"/>
                <a:gd name="connsiteY3" fmla="*/ 2406200 h 3161374"/>
                <a:gd name="connsiteX4" fmla="*/ 2248316 w 25915879"/>
                <a:gd name="connsiteY4" fmla="*/ 2456411 h 3161374"/>
                <a:gd name="connsiteX5" fmla="*/ 1137451 w 25915879"/>
                <a:gd name="connsiteY5" fmla="*/ 3161374 h 3161374"/>
                <a:gd name="connsiteX6" fmla="*/ 0 w 25915879"/>
                <a:gd name="connsiteY6" fmla="*/ 2447870 h 3161374"/>
                <a:gd name="connsiteX0" fmla="*/ 25915828 w 25915879"/>
                <a:gd name="connsiteY0" fmla="*/ 0 h 3159113"/>
                <a:gd name="connsiteX1" fmla="*/ 25911723 w 25915879"/>
                <a:gd name="connsiteY1" fmla="*/ 1361016 h 3159113"/>
                <a:gd name="connsiteX2" fmla="*/ 24537039 w 25915879"/>
                <a:gd name="connsiteY2" fmla="*/ 2403939 h 3159113"/>
                <a:gd name="connsiteX3" fmla="*/ 2248316 w 25915879"/>
                <a:gd name="connsiteY3" fmla="*/ 2454150 h 3159113"/>
                <a:gd name="connsiteX4" fmla="*/ 1137451 w 25915879"/>
                <a:gd name="connsiteY4" fmla="*/ 3159113 h 3159113"/>
                <a:gd name="connsiteX5" fmla="*/ 0 w 25915879"/>
                <a:gd name="connsiteY5" fmla="*/ 2445609 h 3159113"/>
                <a:gd name="connsiteX0" fmla="*/ 25911723 w 25911731"/>
                <a:gd name="connsiteY0" fmla="*/ 1 h 1798098"/>
                <a:gd name="connsiteX1" fmla="*/ 24537039 w 25911731"/>
                <a:gd name="connsiteY1" fmla="*/ 1042924 h 1798098"/>
                <a:gd name="connsiteX2" fmla="*/ 2248316 w 25911731"/>
                <a:gd name="connsiteY2" fmla="*/ 1093135 h 1798098"/>
                <a:gd name="connsiteX3" fmla="*/ 1137451 w 25911731"/>
                <a:gd name="connsiteY3" fmla="*/ 1798098 h 1798098"/>
                <a:gd name="connsiteX4" fmla="*/ 0 w 25911731"/>
                <a:gd name="connsiteY4" fmla="*/ 1084594 h 179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1731" h="1798098">
                  <a:moveTo>
                    <a:pt x="25911723" y="1"/>
                  </a:moveTo>
                  <a:cubicBezTo>
                    <a:pt x="25915358" y="1117162"/>
                    <a:pt x="24907606" y="1042700"/>
                    <a:pt x="24537039" y="1042924"/>
                  </a:cubicBezTo>
                  <a:lnTo>
                    <a:pt x="2248316" y="1093135"/>
                  </a:lnTo>
                  <a:cubicBezTo>
                    <a:pt x="1655273" y="1103392"/>
                    <a:pt x="1329060" y="1335276"/>
                    <a:pt x="1137451" y="1798098"/>
                  </a:cubicBezTo>
                  <a:cubicBezTo>
                    <a:pt x="849876" y="1144972"/>
                    <a:pt x="329529" y="1093749"/>
                    <a:pt x="0" y="1084594"/>
                  </a:cubicBezTo>
                </a:path>
              </a:pathLst>
            </a:custGeom>
            <a:noFill/>
            <a:ln w="28575" cmpd="sng" algn="ctr">
              <a:solidFill>
                <a:schemeClr val="accent2"/>
              </a:solidFill>
              <a:miter lim="800000"/>
              <a:headEnd/>
              <a:tailEnd/>
            </a:ln>
            <a:effectLst/>
          </p:spPr>
          <p:txBody>
            <a:bodyPr wrap="square" lIns="33059" tIns="42974" rIns="33059" bIns="42974" rtlCol="0" anchor="ctr"/>
            <a:lstStyle/>
            <a:p>
              <a:pPr algn="ctr" fontAlgn="auto">
                <a:spcBef>
                  <a:spcPts val="0"/>
                </a:spcBef>
                <a:spcAft>
                  <a:spcPts val="0"/>
                </a:spcAft>
              </a:pPr>
              <a:endParaRPr lang="en-US" sz="1333" dirty="0">
                <a:solidFill>
                  <a:schemeClr val="bg1"/>
                </a:solidFill>
                <a:latin typeface="Arial" pitchFamily="34" charset="0"/>
                <a:cs typeface="Arial" pitchFamily="34" charset="0"/>
              </a:endParaRPr>
            </a:p>
          </p:txBody>
        </p:sp>
      </p:grpSp>
      <p:graphicFrame>
        <p:nvGraphicFramePr>
          <p:cNvPr id="3" name="Object 2" hidden="1"/>
          <p:cNvGraphicFramePr>
            <a:graphicFrameLocks noChangeAspect="1"/>
          </p:cNvGraphicFramePr>
          <p:nvPr>
            <p:custDataLst>
              <p:tags r:id="rId1"/>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solidFill>
                  <a:schemeClr val="tx1"/>
                </a:solidFill>
              </a:defRPr>
            </a:lvl1pPr>
          </a:lstStyle>
          <a:p>
            <a:pPr lvl="0"/>
            <a:r>
              <a:rPr lang="en-US" noProof="0" dirty="0"/>
              <a:t>Click to edit Master title style</a:t>
            </a:r>
          </a:p>
        </p:txBody>
      </p:sp>
    </p:spTree>
    <p:extLst>
      <p:ext uri="{BB962C8B-B14F-4D97-AF65-F5344CB8AC3E}">
        <p14:creationId xmlns:p14="http://schemas.microsoft.com/office/powerpoint/2010/main" val="12990264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308634"/>
            <a:ext cx="10972800" cy="1166815"/>
          </a:xfrm>
        </p:spPr>
        <p:txBody>
          <a:bodyPr/>
          <a:lstStyle>
            <a:lvl1pPr>
              <a:defRPr>
                <a:solidFill>
                  <a:schemeClr val="bg1"/>
                </a:solidFill>
              </a:defRPr>
            </a:lvl1pPr>
          </a:lstStyle>
          <a:p>
            <a:r>
              <a:rPr lang="en-US" dirty="0"/>
              <a:t>Title - Title Case, Calibri 28 </a:t>
            </a:r>
            <a:r>
              <a:rPr lang="en-US" dirty="0" err="1"/>
              <a:t>Pt</a:t>
            </a:r>
            <a:br>
              <a:rPr lang="en-US" dirty="0"/>
            </a:br>
            <a:r>
              <a:rPr lang="en-US" dirty="0"/>
              <a:t>2 Line Max</a:t>
            </a:r>
          </a:p>
        </p:txBody>
      </p:sp>
      <p:sp>
        <p:nvSpPr>
          <p:cNvPr id="5" name="Text Placeholder 8"/>
          <p:cNvSpPr>
            <a:spLocks noGrp="1"/>
          </p:cNvSpPr>
          <p:nvPr>
            <p:ph type="body" sz="quarter" idx="12"/>
          </p:nvPr>
        </p:nvSpPr>
        <p:spPr>
          <a:xfrm>
            <a:off x="613581" y="5930900"/>
            <a:ext cx="10964841" cy="273051"/>
          </a:xfrm>
        </p:spPr>
        <p:txBody>
          <a:bodyPr/>
          <a:lstStyle>
            <a:lvl1pPr marL="0" indent="0">
              <a:lnSpc>
                <a:spcPct val="100000"/>
              </a:lnSpc>
              <a:spcBef>
                <a:spcPts val="0"/>
              </a:spcBef>
              <a:spcAft>
                <a:spcPts val="0"/>
              </a:spcAft>
              <a:buNone/>
              <a:defRPr sz="1333">
                <a:solidFill>
                  <a:schemeClr val="bg1"/>
                </a:solidFill>
              </a:defRPr>
            </a:lvl1pPr>
            <a:lvl2pPr marL="524920" indent="0">
              <a:lnSpc>
                <a:spcPct val="100000"/>
              </a:lnSpc>
              <a:spcBef>
                <a:spcPts val="0"/>
              </a:spcBef>
              <a:spcAft>
                <a:spcPts val="0"/>
              </a:spcAft>
              <a:buNone/>
              <a:defRPr/>
            </a:lvl2pPr>
            <a:lvl3pPr marL="999042" indent="0">
              <a:lnSpc>
                <a:spcPct val="100000"/>
              </a:lnSpc>
              <a:spcBef>
                <a:spcPts val="0"/>
              </a:spcBef>
              <a:spcAft>
                <a:spcPts val="0"/>
              </a:spcAft>
              <a:buNone/>
              <a:defRPr/>
            </a:lvl3pPr>
            <a:lvl4pPr marL="1456230" indent="0">
              <a:lnSpc>
                <a:spcPct val="100000"/>
              </a:lnSpc>
              <a:spcBef>
                <a:spcPts val="0"/>
              </a:spcBef>
              <a:spcAft>
                <a:spcPts val="0"/>
              </a:spcAft>
              <a:buNone/>
              <a:defRPr/>
            </a:lvl4pPr>
            <a:lvl5pPr marL="1828754" indent="0">
              <a:lnSpc>
                <a:spcPct val="100000"/>
              </a:lnSpc>
              <a:spcBef>
                <a:spcPts val="0"/>
              </a:spcBef>
              <a:spcAft>
                <a:spcPts val="0"/>
              </a:spcAft>
              <a:buNone/>
              <a:defRPr/>
            </a:lvl5pPr>
          </a:lstStyle>
          <a:p>
            <a:pPr lvl="0"/>
            <a:r>
              <a:rPr lang="en-US" dirty="0"/>
              <a:t>Click to edit Master text styles</a:t>
            </a:r>
          </a:p>
        </p:txBody>
      </p:sp>
    </p:spTree>
    <p:extLst>
      <p:ext uri="{BB962C8B-B14F-4D97-AF65-F5344CB8AC3E}">
        <p14:creationId xmlns:p14="http://schemas.microsoft.com/office/powerpoint/2010/main" val="4145130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baseline="0">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val="287783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1">
    <p:bg>
      <p:bgPr>
        <a:solidFill>
          <a:srgbClr val="EDEDED"/>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 y="2"/>
          <a:ext cx="195384" cy="158751"/>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2"/>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0" name="Group 19"/>
          <p:cNvGrpSpPr/>
          <p:nvPr userDrawn="1"/>
        </p:nvGrpSpPr>
        <p:grpSpPr>
          <a:xfrm rot="10800000">
            <a:off x="-16148" y="-9139"/>
            <a:ext cx="7063393" cy="6862770"/>
            <a:chOff x="2088634" y="1836"/>
            <a:chExt cx="7057105" cy="6856659"/>
          </a:xfrm>
        </p:grpSpPr>
        <p:sp>
          <p:nvSpPr>
            <p:cNvPr id="21" name="Freeform 20"/>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sp>
          <p:nvSpPr>
            <p:cNvPr id="22" name="Freeform 21"/>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grpSp>
      <p:sp>
        <p:nvSpPr>
          <p:cNvPr id="23" name="Titre 1"/>
          <p:cNvSpPr>
            <a:spLocks noGrp="1"/>
          </p:cNvSpPr>
          <p:nvPr>
            <p:ph type="title" hasCustomPrompt="1"/>
            <p:custDataLst>
              <p:tags r:id="rId2"/>
            </p:custDataLst>
          </p:nvPr>
        </p:nvSpPr>
        <p:spPr>
          <a:xfrm>
            <a:off x="432585" y="913947"/>
            <a:ext cx="6326607" cy="1199092"/>
          </a:xfrm>
          <a:prstGeom prst="rect">
            <a:avLst/>
          </a:prstGeom>
        </p:spPr>
        <p:txBody>
          <a:bodyPr vert="horz" lIns="0" tIns="33059" rIns="66118" bIns="33059" rtlCol="0" anchor="ctr" anchorCtr="0">
            <a:noAutofit/>
          </a:bodyPr>
          <a:lstStyle>
            <a:lvl1pPr algn="l" defTabSz="1556000" rtl="0" eaLnBrk="1" latinLnBrk="0" hangingPunct="1">
              <a:spcBef>
                <a:spcPct val="0"/>
              </a:spcBef>
              <a:buNone/>
              <a:defRPr lang="en-US" sz="4765" b="0" kern="1200" cap="none" baseline="0" dirty="0" smtClean="0">
                <a:solidFill>
                  <a:srgbClr val="2B0A3D"/>
                </a:solidFill>
                <a:latin typeface="Segoe UI" panose="020B0502040204020203" pitchFamily="34" charset="0"/>
                <a:ea typeface="Verdana" panose="020B0604030504040204" pitchFamily="34" charset="0"/>
                <a:cs typeface="Segoe UI" panose="020B0502040204020203" pitchFamily="34" charset="0"/>
              </a:defRPr>
            </a:lvl1pPr>
          </a:lstStyle>
          <a:p>
            <a:pPr lvl="0"/>
            <a:r>
              <a:rPr lang="en-US" noProof="0" dirty="0"/>
              <a:t>Click to edit Master </a:t>
            </a:r>
            <a:br>
              <a:rPr lang="en-US" noProof="0" dirty="0"/>
            </a:br>
            <a:r>
              <a:rPr lang="en-US" noProof="0" dirty="0"/>
              <a:t>text style</a:t>
            </a:r>
          </a:p>
        </p:txBody>
      </p:sp>
      <p:sp>
        <p:nvSpPr>
          <p:cNvPr id="24" name="Text Placeholder 5"/>
          <p:cNvSpPr>
            <a:spLocks noGrp="1"/>
          </p:cNvSpPr>
          <p:nvPr>
            <p:ph type="body" sz="quarter" idx="10"/>
          </p:nvPr>
        </p:nvSpPr>
        <p:spPr>
          <a:xfrm>
            <a:off x="432585" y="2219108"/>
            <a:ext cx="6326607" cy="410369"/>
          </a:xfrm>
        </p:spPr>
        <p:txBody>
          <a:bodyPr lIns="0"/>
          <a:lstStyle>
            <a:lvl1pPr marL="0" indent="0" algn="l">
              <a:buNone/>
              <a:defRPr sz="3403">
                <a:solidFill>
                  <a:schemeClr val="bg1"/>
                </a:solidFill>
                <a:latin typeface="Segoe UI" panose="020B0502040204020203" pitchFamily="34" charset="0"/>
                <a:ea typeface="Verdana" panose="020B0604030504040204" pitchFamily="34" charset="0"/>
                <a:cs typeface="Segoe UI" panose="020B0502040204020203" pitchFamily="34" charset="0"/>
              </a:defRPr>
            </a:lvl1pPr>
            <a:lvl2pPr>
              <a:buNone/>
              <a:defRPr/>
            </a:lvl2pPr>
            <a:lvl3pPr>
              <a:buNone/>
              <a:defRPr/>
            </a:lvl3pPr>
            <a:lvl4pPr>
              <a:buNone/>
              <a:defRPr/>
            </a:lvl4pPr>
            <a:lvl5pPr>
              <a:buNone/>
              <a:defRPr/>
            </a:lvl5pPr>
          </a:lstStyle>
          <a:p>
            <a:pPr lvl="0"/>
            <a:r>
              <a:rPr lang="en-US"/>
              <a:t>Click to edit Master text styles</a:t>
            </a:r>
          </a:p>
        </p:txBody>
      </p:sp>
      <p:pic>
        <p:nvPicPr>
          <p:cNvPr id="2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561637" y="5838446"/>
            <a:ext cx="3087428" cy="688815"/>
          </a:xfrm>
          <a:prstGeom prst="rect">
            <a:avLst/>
          </a:prstGeom>
        </p:spPr>
      </p:pic>
    </p:spTree>
    <p:extLst>
      <p:ext uri="{BB962C8B-B14F-4D97-AF65-F5344CB8AC3E}">
        <p14:creationId xmlns:p14="http://schemas.microsoft.com/office/powerpoint/2010/main" val="10279599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308634"/>
            <a:ext cx="10972800" cy="609334"/>
          </a:xfrm>
        </p:spPr>
        <p:txBody>
          <a:bodyPr/>
          <a:lstStyle/>
          <a:p>
            <a:r>
              <a:rPr lang="en-US"/>
              <a:t>Click to edit Master title style</a:t>
            </a:r>
          </a:p>
        </p:txBody>
      </p:sp>
    </p:spTree>
    <p:extLst>
      <p:ext uri="{BB962C8B-B14F-4D97-AF65-F5344CB8AC3E}">
        <p14:creationId xmlns:p14="http://schemas.microsoft.com/office/powerpoint/2010/main" val="15556885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Tree>
    <p:extLst>
      <p:ext uri="{BB962C8B-B14F-4D97-AF65-F5344CB8AC3E}">
        <p14:creationId xmlns:p14="http://schemas.microsoft.com/office/powerpoint/2010/main" val="28562411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Title Slide White">
    <p:bg>
      <p:bgPr>
        <a:solidFill>
          <a:schemeClr val="tx1"/>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609863" y="1678931"/>
            <a:ext cx="10889948" cy="2117503"/>
          </a:xfrm>
          <a:prstGeom prst="rect">
            <a:avLst/>
          </a:prstGeom>
        </p:spPr>
        <p:txBody>
          <a:bodyPr wrap="square" anchor="b" anchorCtr="0">
            <a:spAutoFit/>
          </a:bodyPr>
          <a:lstStyle>
            <a:lvl1pPr algn="l">
              <a:defRPr sz="7200">
                <a:solidFill>
                  <a:schemeClr val="bg1"/>
                </a:solidFill>
                <a:latin typeface="+mj-lt"/>
              </a:defRPr>
            </a:lvl1pPr>
          </a:lstStyle>
          <a:p>
            <a:r>
              <a:rPr lang="en-US" dirty="0"/>
              <a:t>Always In Title Case; </a:t>
            </a:r>
            <a:br>
              <a:rPr lang="en-US" dirty="0"/>
            </a:br>
            <a:r>
              <a:rPr lang="en-US" dirty="0"/>
              <a:t>2 Lines Preferred</a:t>
            </a:r>
          </a:p>
        </p:txBody>
      </p:sp>
      <p:sp>
        <p:nvSpPr>
          <p:cNvPr id="9" name="Text Placeholder 12"/>
          <p:cNvSpPr>
            <a:spLocks noGrp="1"/>
          </p:cNvSpPr>
          <p:nvPr>
            <p:ph type="body" sz="quarter" idx="11" hasCustomPrompt="1"/>
          </p:nvPr>
        </p:nvSpPr>
        <p:spPr bwMode="black">
          <a:xfrm>
            <a:off x="514864" y="4791849"/>
            <a:ext cx="8608155" cy="458331"/>
          </a:xfrm>
          <a:prstGeom prst="rect">
            <a:avLst/>
          </a:prstGeom>
        </p:spPr>
        <p:txBody>
          <a:bodyPr tIns="0">
            <a:spAutoFit/>
          </a:bodyPr>
          <a:lstStyle>
            <a:lvl1pPr marL="0" indent="0">
              <a:buNone/>
              <a:defRPr sz="1600" b="0">
                <a:solidFill>
                  <a:schemeClr val="bg1"/>
                </a:solidFill>
                <a:latin typeface="+mj-lt"/>
              </a:defRPr>
            </a:lvl1pPr>
          </a:lstStyle>
          <a:p>
            <a:pPr lvl="0"/>
            <a:r>
              <a:rPr lang="en-US" dirty="0"/>
              <a:t>Insert Date Here</a:t>
            </a:r>
            <a:endParaRPr lang="lt-LT" dirty="0"/>
          </a:p>
        </p:txBody>
      </p:sp>
      <p:sp>
        <p:nvSpPr>
          <p:cNvPr id="10" name="Text Placeholder 2"/>
          <p:cNvSpPr>
            <a:spLocks noGrp="1"/>
          </p:cNvSpPr>
          <p:nvPr>
            <p:ph type="body" idx="12" hasCustomPrompt="1"/>
          </p:nvPr>
        </p:nvSpPr>
        <p:spPr>
          <a:xfrm>
            <a:off x="536888" y="3759547"/>
            <a:ext cx="8607117" cy="723967"/>
          </a:xfrm>
        </p:spPr>
        <p:txBody>
          <a:bodyPr/>
          <a:lstStyle>
            <a:lvl1pPr marL="0" indent="0">
              <a:buNone/>
              <a:defRPr sz="1867" b="1">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772978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a:t>Fifth level</a:t>
            </a:r>
            <a:endParaRPr lang="en-US" dirty="0"/>
          </a:p>
        </p:txBody>
      </p:sp>
    </p:spTree>
    <p:extLst>
      <p:ext uri="{BB962C8B-B14F-4D97-AF65-F5344CB8AC3E}">
        <p14:creationId xmlns:p14="http://schemas.microsoft.com/office/powerpoint/2010/main" val="548515758"/>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EDEDED"/>
        </a:solidFill>
        <a:effectLst/>
      </p:bgPr>
    </p:bg>
    <p:spTree>
      <p:nvGrpSpPr>
        <p:cNvPr id="1" name=""/>
        <p:cNvGrpSpPr/>
        <p:nvPr/>
      </p:nvGrpSpPr>
      <p:grpSpPr>
        <a:xfrm>
          <a:off x="0" y="0"/>
          <a:ext cx="0" cy="0"/>
          <a:chOff x="0" y="0"/>
          <a:chExt cx="0" cy="0"/>
        </a:xfrm>
      </p:grpSpPr>
      <p:grpSp>
        <p:nvGrpSpPr>
          <p:cNvPr id="14" name="Group 13"/>
          <p:cNvGrpSpPr/>
          <p:nvPr userDrawn="1"/>
        </p:nvGrpSpPr>
        <p:grpSpPr>
          <a:xfrm>
            <a:off x="5149757" y="2453"/>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339025" y="3798121"/>
            <a:ext cx="6582043" cy="1159934"/>
          </a:xfrm>
        </p:spPr>
        <p:txBody>
          <a:bodyPr lIns="0" tIns="0" rIns="0" bIns="0" anchor="b">
            <a:normAutofit/>
          </a:bodyPr>
          <a:lstStyle>
            <a:lvl1pPr marL="0" indent="0" algn="r">
              <a:lnSpc>
                <a:spcPct val="100000"/>
              </a:lnSpc>
              <a:buNone/>
              <a:defRPr sz="5446">
                <a:solidFill>
                  <a:schemeClr val="bg2">
                    <a:lumMod val="40000"/>
                    <a:lumOff val="60000"/>
                  </a:schemeClr>
                </a:solidFill>
                <a:latin typeface="Segoe UI" panose="020B0502040204020203" pitchFamily="34" charset="0"/>
                <a:ea typeface="Verdana" panose="020B0604030504040204" pitchFamily="34" charset="0"/>
                <a:cs typeface="Segoe UI" panose="020B0502040204020203" pitchFamily="34" charset="0"/>
              </a:defRPr>
            </a:lvl1pPr>
            <a:lvl2pPr>
              <a:defRPr sz="3063">
                <a:solidFill>
                  <a:schemeClr val="bg1"/>
                </a:solidFill>
              </a:defRPr>
            </a:lvl2pPr>
          </a:lstStyle>
          <a:p>
            <a:pPr lvl="0"/>
            <a:r>
              <a:rPr lang="en-US" dirty="0"/>
              <a:t>Click to insert title</a:t>
            </a:r>
            <a:endParaRPr lang="pt-PT" dirty="0"/>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827197" y="5111406"/>
            <a:ext cx="6093872" cy="1595120"/>
          </a:xfrm>
        </p:spPr>
        <p:txBody>
          <a:bodyPr lIns="0" tIns="0" rIns="0" bIns="0">
            <a:normAutofit/>
          </a:bodyPr>
          <a:lstStyle>
            <a:lvl1pPr marL="0" indent="0" algn="r">
              <a:lnSpc>
                <a:spcPct val="100000"/>
              </a:lnSpc>
              <a:buNone/>
              <a:defRPr sz="3063">
                <a:solidFill>
                  <a:schemeClr val="bg2">
                    <a:lumMod val="40000"/>
                    <a:lumOff val="60000"/>
                  </a:schemeClr>
                </a:solidFill>
                <a:latin typeface="Segoe UI" panose="020B0502040204020203" pitchFamily="34" charset="0"/>
                <a:ea typeface="Verdana" panose="020B0604030504040204" pitchFamily="34" charset="0"/>
                <a:cs typeface="Segoe UI" panose="020B0502040204020203" pitchFamily="34" charset="0"/>
              </a:defRPr>
            </a:lvl1pPr>
            <a:lvl2pPr>
              <a:defRPr sz="2042">
                <a:solidFill>
                  <a:schemeClr val="bg1"/>
                </a:solidFill>
              </a:defRPr>
            </a:lvl2pPr>
          </a:lstStyle>
          <a:p>
            <a:pPr lvl="0"/>
            <a:r>
              <a:rPr lang="en-US" dirty="0"/>
              <a:t>Click to insert presenter, location, and date</a:t>
            </a:r>
            <a:endParaRPr lang="pt-PT" dirty="0"/>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43986" y="539754"/>
            <a:ext cx="3087428" cy="688815"/>
          </a:xfrm>
          <a:prstGeom prst="rect">
            <a:avLst/>
          </a:prstGeom>
        </p:spPr>
      </p:pic>
      <p:graphicFrame>
        <p:nvGraphicFramePr>
          <p:cNvPr id="5" name="Object 4" hidden="1"/>
          <p:cNvGraphicFramePr>
            <a:graphicFrameLocks noChangeAspect="1"/>
          </p:cNvGraphicFramePr>
          <p:nvPr>
            <p:custDataLst>
              <p:tags r:id="rId1"/>
            </p:custDataLst>
          </p:nvPr>
        </p:nvGraphicFramePr>
        <p:xfrm>
          <a:off x="3" y="2"/>
          <a:ext cx="195384" cy="158751"/>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2"/>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703246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130333987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0261936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15" name="Line 7">
            <a:extLst>
              <a:ext uri="{FF2B5EF4-FFF2-40B4-BE49-F238E27FC236}">
                <a16:creationId xmlns:a16="http://schemas.microsoft.com/office/drawing/2014/main" id="{E8849EFC-267B-43FA-8D9D-B335B1B2E38A}"/>
              </a:ext>
            </a:extLst>
          </p:cNvPr>
          <p:cNvSpPr>
            <a:spLocks noChangeShapeType="1"/>
          </p:cNvSpPr>
          <p:nvPr userDrawn="1"/>
        </p:nvSpPr>
        <p:spPr bwMode="gray">
          <a:xfrm>
            <a:off x="11588749" y="6450414"/>
            <a:ext cx="0" cy="319616"/>
          </a:xfrm>
          <a:prstGeom prst="line">
            <a:avLst/>
          </a:prstGeom>
          <a:noFill/>
          <a:ln w="9525">
            <a:solidFill>
              <a:srgbClr val="969696"/>
            </a:solidFill>
            <a:round/>
            <a:headEnd/>
            <a:tailEnd/>
          </a:ln>
          <a:effectLst/>
        </p:spPr>
        <p:txBody>
          <a:bodyPr wrap="none" anchor="ctr"/>
          <a:lstStyle/>
          <a:p>
            <a:endParaRPr lang="en-US" sz="2723" dirty="0">
              <a:solidFill>
                <a:schemeClr val="tx2"/>
              </a:solidFill>
              <a:latin typeface="+mj-lt"/>
            </a:endParaRPr>
          </a:p>
        </p:txBody>
      </p:sp>
      <p:sp>
        <p:nvSpPr>
          <p:cNvPr id="16" name="Text Box 8">
            <a:extLst>
              <a:ext uri="{FF2B5EF4-FFF2-40B4-BE49-F238E27FC236}">
                <a16:creationId xmlns:a16="http://schemas.microsoft.com/office/drawing/2014/main" id="{B265E917-F5F5-47E7-985D-25AA9CCFE342}"/>
              </a:ext>
            </a:extLst>
          </p:cNvPr>
          <p:cNvSpPr txBox="1">
            <a:spLocks noChangeArrowheads="1"/>
          </p:cNvSpPr>
          <p:nvPr userDrawn="1"/>
        </p:nvSpPr>
        <p:spPr bwMode="gray">
          <a:xfrm>
            <a:off x="11588754" y="6448296"/>
            <a:ext cx="510718"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mj-lt"/>
              </a:rPr>
              <a:pPr eaLnBrk="0" hangingPunct="0">
                <a:lnSpc>
                  <a:spcPct val="85000"/>
                </a:lnSpc>
              </a:pPr>
              <a:t>‹#›</a:t>
            </a:fld>
            <a:endParaRPr lang="en-US" sz="800" dirty="0">
              <a:solidFill>
                <a:srgbClr val="969696"/>
              </a:solidFill>
              <a:latin typeface="+mj-lt"/>
            </a:endParaRPr>
          </a:p>
        </p:txBody>
      </p:sp>
      <p:sp>
        <p:nvSpPr>
          <p:cNvPr id="17" name="Text Box 9">
            <a:extLst>
              <a:ext uri="{FF2B5EF4-FFF2-40B4-BE49-F238E27FC236}">
                <a16:creationId xmlns:a16="http://schemas.microsoft.com/office/drawing/2014/main" id="{8934A6B4-2902-4898-9B2D-15365FEC6F70}"/>
              </a:ext>
            </a:extLst>
          </p:cNvPr>
          <p:cNvSpPr txBox="1">
            <a:spLocks noChangeArrowheads="1"/>
          </p:cNvSpPr>
          <p:nvPr userDrawn="1"/>
        </p:nvSpPr>
        <p:spPr bwMode="gray">
          <a:xfrm>
            <a:off x="5475819" y="6508399"/>
            <a:ext cx="6068484" cy="203645"/>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51" dirty="0">
                <a:solidFill>
                  <a:schemeClr val="tx2"/>
                </a:solidFill>
                <a:latin typeface="+mj-lt"/>
              </a:rPr>
              <a:t>The information contained in this document is proprietary. Copyright © 2018 Capgemini. All rights reserved.</a:t>
            </a:r>
          </a:p>
        </p:txBody>
      </p:sp>
    </p:spTree>
    <p:extLst>
      <p:ext uri="{BB962C8B-B14F-4D97-AF65-F5344CB8AC3E}">
        <p14:creationId xmlns:p14="http://schemas.microsoft.com/office/powerpoint/2010/main" val="924558564"/>
      </p:ext>
    </p:extLst>
  </p:cSld>
  <p:clrMapOvr>
    <a:masterClrMapping/>
  </p:clrMapOvr>
  <p:extLst>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3_Title Slide 1">
    <p:bg>
      <p:bgPr>
        <a:solidFill>
          <a:srgbClr val="EDEDED"/>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 y="2"/>
          <a:ext cx="195384" cy="158751"/>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 y="2"/>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910130" y="2332817"/>
            <a:ext cx="5858540" cy="1159934"/>
          </a:xfrm>
        </p:spPr>
        <p:txBody>
          <a:bodyPr lIns="0" tIns="0" rIns="0" bIns="0" anchor="b">
            <a:normAutofit/>
          </a:bodyPr>
          <a:lstStyle>
            <a:lvl1pPr marL="0" indent="0" algn="r">
              <a:lnSpc>
                <a:spcPct val="100000"/>
              </a:lnSpc>
              <a:buNone/>
              <a:defRPr sz="4765">
                <a:solidFill>
                  <a:srgbClr val="2B0A3D"/>
                </a:solidFill>
                <a:latin typeface="Segoe UI" panose="020B0502040204020203" pitchFamily="34" charset="0"/>
                <a:ea typeface="Verdana" panose="020B0604030504040204" pitchFamily="34" charset="0"/>
                <a:cs typeface="Segoe UI" panose="020B0502040204020203" pitchFamily="34" charset="0"/>
              </a:defRPr>
            </a:lvl1pPr>
            <a:lvl2pPr>
              <a:defRPr sz="3063">
                <a:solidFill>
                  <a:schemeClr val="bg1"/>
                </a:solidFill>
              </a:defRPr>
            </a:lvl2pPr>
          </a:lstStyle>
          <a:p>
            <a:pPr lvl="0"/>
            <a:r>
              <a:rPr lang="en-US" dirty="0"/>
              <a:t>Click to insert title</a:t>
            </a:r>
            <a:endParaRPr lang="pt-PT" dirty="0"/>
          </a:p>
        </p:txBody>
      </p:sp>
      <p:sp>
        <p:nvSpPr>
          <p:cNvPr id="1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6797041" y="3646102"/>
            <a:ext cx="4971628" cy="1595120"/>
          </a:xfrm>
        </p:spPr>
        <p:txBody>
          <a:bodyPr lIns="0" tIns="0" rIns="0" bIns="0">
            <a:normAutofit/>
          </a:bodyPr>
          <a:lstStyle>
            <a:lvl1pPr marL="0" indent="0" algn="r">
              <a:lnSpc>
                <a:spcPct val="100000"/>
              </a:lnSpc>
              <a:buNone/>
              <a:defRPr sz="2723">
                <a:solidFill>
                  <a:schemeClr val="accent2"/>
                </a:solidFill>
                <a:latin typeface="Segoe UI" panose="020B0502040204020203" pitchFamily="34" charset="0"/>
                <a:ea typeface="Verdana" panose="020B0604030504040204" pitchFamily="34" charset="0"/>
                <a:cs typeface="Segoe UI" panose="020B0502040204020203" pitchFamily="34" charset="0"/>
              </a:defRPr>
            </a:lvl1pPr>
            <a:lvl2pPr>
              <a:defRPr sz="2042">
                <a:solidFill>
                  <a:schemeClr val="bg1"/>
                </a:solidFill>
              </a:defRPr>
            </a:lvl2pPr>
          </a:lstStyle>
          <a:p>
            <a:pPr lvl="0"/>
            <a:r>
              <a:rPr lang="en-US" dirty="0"/>
              <a:t>Click to insert presenter, location, and date</a:t>
            </a:r>
            <a:endParaRPr lang="pt-PT" dirty="0"/>
          </a:p>
        </p:txBody>
      </p:sp>
      <p:grpSp>
        <p:nvGrpSpPr>
          <p:cNvPr id="6" name="Group 5"/>
          <p:cNvGrpSpPr/>
          <p:nvPr userDrawn="1"/>
        </p:nvGrpSpPr>
        <p:grpSpPr>
          <a:xfrm>
            <a:off x="-20320" y="1518980"/>
            <a:ext cx="6098123" cy="5345086"/>
            <a:chOff x="-15240" y="1173480"/>
            <a:chExt cx="6485378" cy="5684520"/>
          </a:xfrm>
        </p:grpSpPr>
        <p:grpSp>
          <p:nvGrpSpPr>
            <p:cNvPr id="12" name="Group 11"/>
            <p:cNvGrpSpPr/>
            <p:nvPr userDrawn="1"/>
          </p:nvGrpSpPr>
          <p:grpSpPr>
            <a:xfrm rot="16200000" flipV="1">
              <a:off x="385189" y="773051"/>
              <a:ext cx="5684520" cy="6485378"/>
              <a:chOff x="5470" y="2234087"/>
              <a:chExt cx="4052922" cy="4623913"/>
            </a:xfrm>
          </p:grpSpPr>
          <p:sp>
            <p:nvSpPr>
              <p:cNvPr id="13" name="Freeform 12"/>
              <p:cNvSpPr/>
              <p:nvPr userDrawn="1"/>
            </p:nvSpPr>
            <p:spPr>
              <a:xfrm>
                <a:off x="10084" y="2234087"/>
                <a:ext cx="3659796" cy="2995332"/>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Lst>
                <a:ahLst/>
                <a:cxnLst>
                  <a:cxn ang="0">
                    <a:pos x="connsiteX0" y="connsiteY0"/>
                  </a:cxn>
                  <a:cxn ang="0">
                    <a:pos x="connsiteX1" y="connsiteY1"/>
                  </a:cxn>
                  <a:cxn ang="0">
                    <a:pos x="connsiteX2" y="connsiteY2"/>
                  </a:cxn>
                  <a:cxn ang="0">
                    <a:pos x="connsiteX3" y="connsiteY3"/>
                  </a:cxn>
                </a:cxnLst>
                <a:rect l="l" t="t" r="r" b="b"/>
                <a:pathLst>
                  <a:path w="3659796" h="2837683">
                    <a:moveTo>
                      <a:pt x="3659796" y="1783924"/>
                    </a:moveTo>
                    <a:cubicBezTo>
                      <a:pt x="2347587" y="893468"/>
                      <a:pt x="1251698" y="495536"/>
                      <a:pt x="0" y="0"/>
                    </a:cubicBezTo>
                    <a:cubicBezTo>
                      <a:pt x="2241" y="948018"/>
                      <a:pt x="4483" y="1889665"/>
                      <a:pt x="6724" y="2837683"/>
                    </a:cubicBezTo>
                    <a:lnTo>
                      <a:pt x="3659796" y="178392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sp>
            <p:nvSpPr>
              <p:cNvPr id="14" name="Freeform 13"/>
              <p:cNvSpPr/>
              <p:nvPr userDrawn="1"/>
            </p:nvSpPr>
            <p:spPr>
              <a:xfrm>
                <a:off x="5470" y="3922052"/>
                <a:ext cx="4052922" cy="2935948"/>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2922" h="2935948">
                    <a:moveTo>
                      <a:pt x="3578226" y="2935948"/>
                    </a:moveTo>
                    <a:lnTo>
                      <a:pt x="0" y="2927075"/>
                    </a:lnTo>
                    <a:cubicBezTo>
                      <a:pt x="4997" y="2150085"/>
                      <a:pt x="4523" y="1351216"/>
                      <a:pt x="9520" y="574226"/>
                    </a:cubicBezTo>
                    <a:lnTo>
                      <a:pt x="292514" y="976370"/>
                    </a:lnTo>
                    <a:cubicBezTo>
                      <a:pt x="1181802" y="1226354"/>
                      <a:pt x="2622566" y="-407363"/>
                      <a:pt x="3526532" y="97407"/>
                    </a:cubicBezTo>
                    <a:cubicBezTo>
                      <a:pt x="4430498" y="602177"/>
                      <a:pt x="3980095" y="2347234"/>
                      <a:pt x="3578226"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grpSp>
        <p:pic>
          <p:nvPicPr>
            <p:cNvPr id="17"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7072" r="38344"/>
            <a:stretch/>
          </p:blipFill>
          <p:spPr>
            <a:xfrm>
              <a:off x="0" y="1520686"/>
              <a:ext cx="5177971" cy="5337313"/>
            </a:xfrm>
            <a:prstGeom prst="rect">
              <a:avLst/>
            </a:prstGeom>
          </p:spPr>
        </p:pic>
      </p:grpSp>
      <p:pic>
        <p:nvPicPr>
          <p:cNvPr id="19"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43986" y="539754"/>
            <a:ext cx="3087428" cy="688815"/>
          </a:xfrm>
          <a:prstGeom prst="rect">
            <a:avLst/>
          </a:prstGeom>
        </p:spPr>
      </p:pic>
    </p:spTree>
    <p:extLst>
      <p:ext uri="{BB962C8B-B14F-4D97-AF65-F5344CB8AC3E}">
        <p14:creationId xmlns:p14="http://schemas.microsoft.com/office/powerpoint/2010/main" val="52366326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2_Title Slide 1">
    <p:bg>
      <p:bgPr>
        <a:solidFill>
          <a:srgbClr val="EDEDED"/>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 y="2"/>
          <a:ext cx="195384" cy="158751"/>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2"/>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0" name="Group 19"/>
          <p:cNvGrpSpPr/>
          <p:nvPr userDrawn="1"/>
        </p:nvGrpSpPr>
        <p:grpSpPr>
          <a:xfrm rot="10800000">
            <a:off x="-16148" y="-9139"/>
            <a:ext cx="7063393" cy="6862770"/>
            <a:chOff x="2088634" y="1836"/>
            <a:chExt cx="7057105" cy="6856659"/>
          </a:xfrm>
        </p:grpSpPr>
        <p:sp>
          <p:nvSpPr>
            <p:cNvPr id="21" name="Freeform 20"/>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sp>
          <p:nvSpPr>
            <p:cNvPr id="22" name="Freeform 21"/>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24" dirty="0"/>
            </a:p>
          </p:txBody>
        </p:sp>
      </p:grpSp>
      <p:sp>
        <p:nvSpPr>
          <p:cNvPr id="23" name="Titre 1"/>
          <p:cNvSpPr>
            <a:spLocks noGrp="1"/>
          </p:cNvSpPr>
          <p:nvPr>
            <p:ph type="title" hasCustomPrompt="1"/>
            <p:custDataLst>
              <p:tags r:id="rId2"/>
            </p:custDataLst>
          </p:nvPr>
        </p:nvSpPr>
        <p:spPr>
          <a:xfrm>
            <a:off x="432585" y="913947"/>
            <a:ext cx="6326607" cy="1199092"/>
          </a:xfrm>
          <a:prstGeom prst="rect">
            <a:avLst/>
          </a:prstGeom>
        </p:spPr>
        <p:txBody>
          <a:bodyPr vert="horz" lIns="0" tIns="33059" rIns="66118" bIns="33059" rtlCol="0" anchor="ctr" anchorCtr="0">
            <a:noAutofit/>
          </a:bodyPr>
          <a:lstStyle>
            <a:lvl1pPr algn="l" defTabSz="1556000" rtl="0" eaLnBrk="1" latinLnBrk="0" hangingPunct="1">
              <a:spcBef>
                <a:spcPct val="0"/>
              </a:spcBef>
              <a:buNone/>
              <a:defRPr lang="en-US" sz="4765" b="0" kern="1200" cap="none" baseline="0" dirty="0" smtClean="0">
                <a:solidFill>
                  <a:srgbClr val="2B0A3D"/>
                </a:solidFill>
                <a:latin typeface="Segoe UI" panose="020B0502040204020203" pitchFamily="34" charset="0"/>
                <a:ea typeface="Verdana" panose="020B0604030504040204" pitchFamily="34" charset="0"/>
                <a:cs typeface="Segoe UI" panose="020B0502040204020203" pitchFamily="34" charset="0"/>
              </a:defRPr>
            </a:lvl1pPr>
          </a:lstStyle>
          <a:p>
            <a:pPr lvl="0"/>
            <a:r>
              <a:rPr lang="en-US" noProof="0" dirty="0"/>
              <a:t>Click to edit Master </a:t>
            </a:r>
            <a:br>
              <a:rPr lang="en-US" noProof="0" dirty="0"/>
            </a:br>
            <a:r>
              <a:rPr lang="en-US" noProof="0" dirty="0"/>
              <a:t>text style</a:t>
            </a:r>
          </a:p>
        </p:txBody>
      </p:sp>
      <p:sp>
        <p:nvSpPr>
          <p:cNvPr id="24" name="Text Placeholder 5"/>
          <p:cNvSpPr>
            <a:spLocks noGrp="1"/>
          </p:cNvSpPr>
          <p:nvPr>
            <p:ph type="body" sz="quarter" idx="10"/>
          </p:nvPr>
        </p:nvSpPr>
        <p:spPr>
          <a:xfrm>
            <a:off x="432585" y="2219108"/>
            <a:ext cx="6326607" cy="410369"/>
          </a:xfrm>
        </p:spPr>
        <p:txBody>
          <a:bodyPr lIns="0"/>
          <a:lstStyle>
            <a:lvl1pPr marL="0" indent="0" algn="l">
              <a:buNone/>
              <a:defRPr sz="3403">
                <a:solidFill>
                  <a:schemeClr val="bg1"/>
                </a:solidFill>
                <a:latin typeface="Segoe UI" panose="020B0502040204020203" pitchFamily="34" charset="0"/>
                <a:ea typeface="Verdana" panose="020B0604030504040204" pitchFamily="34" charset="0"/>
                <a:cs typeface="Segoe UI" panose="020B0502040204020203" pitchFamily="34" charset="0"/>
              </a:defRPr>
            </a:lvl1pPr>
            <a:lvl2pPr>
              <a:buNone/>
              <a:defRPr/>
            </a:lvl2pPr>
            <a:lvl3pPr>
              <a:buNone/>
              <a:defRPr/>
            </a:lvl3pPr>
            <a:lvl4pPr>
              <a:buNone/>
              <a:defRPr/>
            </a:lvl4pPr>
            <a:lvl5pPr>
              <a:buNone/>
              <a:defRPr/>
            </a:lvl5pPr>
          </a:lstStyle>
          <a:p>
            <a:pPr lvl="0"/>
            <a:r>
              <a:rPr lang="en-US"/>
              <a:t>Click to edit Master text styles</a:t>
            </a:r>
          </a:p>
        </p:txBody>
      </p:sp>
      <p:pic>
        <p:nvPicPr>
          <p:cNvPr id="2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561637" y="5838446"/>
            <a:ext cx="3087428" cy="688815"/>
          </a:xfrm>
          <a:prstGeom prst="rect">
            <a:avLst/>
          </a:prstGeom>
        </p:spPr>
      </p:pic>
    </p:spTree>
    <p:extLst>
      <p:ext uri="{BB962C8B-B14F-4D97-AF65-F5344CB8AC3E}">
        <p14:creationId xmlns:p14="http://schemas.microsoft.com/office/powerpoint/2010/main" val="3307876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Agenda">
    <p:bg>
      <p:bgPr>
        <a:solidFill>
          <a:srgbClr val="EDEDED"/>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 y="2"/>
          <a:ext cx="195384" cy="158751"/>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2"/>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Freeform 7"/>
          <p:cNvSpPr/>
          <p:nvPr userDrawn="1"/>
        </p:nvSpPr>
        <p:spPr>
          <a:xfrm flipH="1">
            <a:off x="2" y="-9891"/>
            <a:ext cx="7920493" cy="2767627"/>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2" dirty="0">
              <a:latin typeface="Arial" pitchFamily="34" charset="0"/>
              <a:cs typeface="Arial" pitchFamily="34" charset="0"/>
            </a:endParaRPr>
          </a:p>
        </p:txBody>
      </p:sp>
      <p:sp>
        <p:nvSpPr>
          <p:cNvPr id="12" name="Title Placeholder 1"/>
          <p:cNvSpPr>
            <a:spLocks noGrp="1"/>
          </p:cNvSpPr>
          <p:nvPr>
            <p:ph type="title"/>
          </p:nvPr>
        </p:nvSpPr>
        <p:spPr>
          <a:xfrm>
            <a:off x="6" y="33684"/>
            <a:ext cx="625502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Segoe UI" panose="020B0502040204020203" pitchFamily="34" charset="0"/>
                <a:ea typeface="Verdana" panose="020B0604030504040204" pitchFamily="34" charset="0"/>
                <a:cs typeface="Segoe UI" panose="020B0502040204020203" pitchFamily="34" charset="0"/>
              </a:defRPr>
            </a:lvl1pPr>
          </a:lstStyle>
          <a:p>
            <a:r>
              <a:rPr lang="en-US" dirty="0"/>
              <a:t>Click to edit Master title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Agenda">
    <p:bg>
      <p:bgPr>
        <a:solidFill>
          <a:srgbClr val="EDEDED"/>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 y="2"/>
          <a:ext cx="195384" cy="158751"/>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2"/>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Freeform 7"/>
          <p:cNvSpPr/>
          <p:nvPr userDrawn="1"/>
        </p:nvSpPr>
        <p:spPr>
          <a:xfrm flipH="1">
            <a:off x="2" y="-9891"/>
            <a:ext cx="7920493" cy="2767627"/>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2" dirty="0">
              <a:latin typeface="Arial" pitchFamily="34" charset="0"/>
              <a:cs typeface="Arial" pitchFamily="34" charset="0"/>
            </a:endParaRPr>
          </a:p>
        </p:txBody>
      </p:sp>
      <p:sp>
        <p:nvSpPr>
          <p:cNvPr id="12" name="Title Placeholder 1"/>
          <p:cNvSpPr>
            <a:spLocks noGrp="1"/>
          </p:cNvSpPr>
          <p:nvPr>
            <p:ph type="title"/>
          </p:nvPr>
        </p:nvSpPr>
        <p:spPr>
          <a:xfrm>
            <a:off x="6" y="33684"/>
            <a:ext cx="625502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Segoe UI" panose="020B0502040204020203" pitchFamily="34" charset="0"/>
                <a:ea typeface="Verdana" panose="020B0604030504040204"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4182697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8"/>
          <p:cNvSpPr/>
          <p:nvPr userDrawn="1"/>
        </p:nvSpPr>
        <p:spPr>
          <a:xfrm flipH="1">
            <a:off x="-2" y="5"/>
            <a:ext cx="5677239" cy="6089301"/>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2246" h="5938447">
                <a:moveTo>
                  <a:pt x="0" y="0"/>
                </a:moveTo>
                <a:lnTo>
                  <a:pt x="5940370" y="0"/>
                </a:lnTo>
                <a:cubicBezTo>
                  <a:pt x="5933871" y="1727873"/>
                  <a:pt x="5946869" y="3455745"/>
                  <a:pt x="5940370" y="5183618"/>
                </a:cubicBezTo>
                <a:cubicBezTo>
                  <a:pt x="5649138" y="5507350"/>
                  <a:pt x="3902952" y="6614277"/>
                  <a:pt x="2709867" y="5339500"/>
                </a:cubicBezTo>
                <a:cubicBezTo>
                  <a:pt x="3232707" y="4545548"/>
                  <a:pt x="234667" y="1659579"/>
                  <a:pt x="0" y="0"/>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2" dirty="0">
              <a:latin typeface="Arial" pitchFamily="34" charset="0"/>
              <a:cs typeface="Arial" pitchFamily="34" charset="0"/>
            </a:endParaRPr>
          </a:p>
        </p:txBody>
      </p:sp>
      <p:sp>
        <p:nvSpPr>
          <p:cNvPr id="10" name="Title Placeholder 1"/>
          <p:cNvSpPr>
            <a:spLocks noGrp="1"/>
          </p:cNvSpPr>
          <p:nvPr>
            <p:ph type="title"/>
          </p:nvPr>
        </p:nvSpPr>
        <p:spPr>
          <a:xfrm>
            <a:off x="18487" y="33684"/>
            <a:ext cx="536073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351531" y="251520"/>
            <a:ext cx="565808" cy="612832"/>
          </a:xfrm>
          <a:prstGeom prst="rect">
            <a:avLst/>
          </a:prstGeom>
        </p:spPr>
      </p:pic>
    </p:spTree>
    <p:extLst>
      <p:ext uri="{BB962C8B-B14F-4D97-AF65-F5344CB8AC3E}">
        <p14:creationId xmlns:p14="http://schemas.microsoft.com/office/powerpoint/2010/main" val="299722615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3528172" y="0"/>
            <a:ext cx="8687689" cy="6860409"/>
          </a:xfrm>
          <a:custGeom>
            <a:avLst/>
            <a:gdLst>
              <a:gd name="connsiteX0" fmla="*/ 8442036 w 8442036"/>
              <a:gd name="connsiteY0" fmla="*/ 9237 h 6862618"/>
              <a:gd name="connsiteX1" fmla="*/ 8442036 w 8442036"/>
              <a:gd name="connsiteY1" fmla="*/ 6862618 h 6862618"/>
              <a:gd name="connsiteX2" fmla="*/ 6576291 w 8442036"/>
              <a:gd name="connsiteY2" fmla="*/ 6862618 h 6862618"/>
              <a:gd name="connsiteX3" fmla="*/ 5440218 w 8442036"/>
              <a:gd name="connsiteY3" fmla="*/ 59020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52918 w 8442036"/>
              <a:gd name="connsiteY3" fmla="*/ 59274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581439 w 8581439"/>
              <a:gd name="connsiteY0" fmla="*/ 9237 h 6862618"/>
              <a:gd name="connsiteX1" fmla="*/ 8581439 w 8581439"/>
              <a:gd name="connsiteY1" fmla="*/ 6862618 h 6862618"/>
              <a:gd name="connsiteX2" fmla="*/ 6715694 w 8581439"/>
              <a:gd name="connsiteY2" fmla="*/ 6862618 h 6862618"/>
              <a:gd name="connsiteX3" fmla="*/ 5566921 w 8581439"/>
              <a:gd name="connsiteY3" fmla="*/ 5882987 h 6862618"/>
              <a:gd name="connsiteX4" fmla="*/ 3477194 w 8581439"/>
              <a:gd name="connsiteY4" fmla="*/ 2545773 h 6862618"/>
              <a:gd name="connsiteX5" fmla="*/ 139403 w 8581439"/>
              <a:gd name="connsiteY5" fmla="*/ 0 h 6862618"/>
              <a:gd name="connsiteX6" fmla="*/ 8581439 w 8581439"/>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708736 w 8708736"/>
              <a:gd name="connsiteY0" fmla="*/ 9237 h 6862618"/>
              <a:gd name="connsiteX1" fmla="*/ 8442036 w 8708736"/>
              <a:gd name="connsiteY1" fmla="*/ 6862618 h 6862618"/>
              <a:gd name="connsiteX2" fmla="*/ 6576291 w 8708736"/>
              <a:gd name="connsiteY2" fmla="*/ 6862618 h 6862618"/>
              <a:gd name="connsiteX3" fmla="*/ 5427518 w 8708736"/>
              <a:gd name="connsiteY3" fmla="*/ 5882987 h 6862618"/>
              <a:gd name="connsiteX4" fmla="*/ 3572741 w 8708736"/>
              <a:gd name="connsiteY4" fmla="*/ 2469573 h 6862618"/>
              <a:gd name="connsiteX5" fmla="*/ 0 w 8708736"/>
              <a:gd name="connsiteY5" fmla="*/ 0 h 6862618"/>
              <a:gd name="connsiteX6" fmla="*/ 8708736 w 8708736"/>
              <a:gd name="connsiteY6" fmla="*/ 9237 h 686261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2912"/>
              <a:gd name="connsiteX1" fmla="*/ 8671224 w 8708736"/>
              <a:gd name="connsiteY1" fmla="*/ 6862912 h 6862912"/>
              <a:gd name="connsiteX2" fmla="*/ 6576291 w 8708736"/>
              <a:gd name="connsiteY2" fmla="*/ 6862618 h 6862912"/>
              <a:gd name="connsiteX3" fmla="*/ 5427518 w 8708736"/>
              <a:gd name="connsiteY3" fmla="*/ 5882987 h 6862912"/>
              <a:gd name="connsiteX4" fmla="*/ 3572741 w 8708736"/>
              <a:gd name="connsiteY4" fmla="*/ 2469573 h 6862912"/>
              <a:gd name="connsiteX5" fmla="*/ 0 w 8708736"/>
              <a:gd name="connsiteY5" fmla="*/ 0 h 6862912"/>
              <a:gd name="connsiteX6" fmla="*/ 8708736 w 8708736"/>
              <a:gd name="connsiteY6" fmla="*/ 9237 h 6862912"/>
              <a:gd name="connsiteX0" fmla="*/ 8708736 w 8708736"/>
              <a:gd name="connsiteY0" fmla="*/ 9237 h 6874702"/>
              <a:gd name="connsiteX1" fmla="*/ 8690874 w 8708736"/>
              <a:gd name="connsiteY1" fmla="*/ 6874702 h 6874702"/>
              <a:gd name="connsiteX2" fmla="*/ 6576291 w 8708736"/>
              <a:gd name="connsiteY2" fmla="*/ 6862618 h 6874702"/>
              <a:gd name="connsiteX3" fmla="*/ 5427518 w 8708736"/>
              <a:gd name="connsiteY3" fmla="*/ 5882987 h 6874702"/>
              <a:gd name="connsiteX4" fmla="*/ 3572741 w 8708736"/>
              <a:gd name="connsiteY4" fmla="*/ 2469573 h 6874702"/>
              <a:gd name="connsiteX5" fmla="*/ 0 w 8708736"/>
              <a:gd name="connsiteY5" fmla="*/ 0 h 6874702"/>
              <a:gd name="connsiteX6" fmla="*/ 8708736 w 8708736"/>
              <a:gd name="connsiteY6" fmla="*/ 9237 h 6874702"/>
              <a:gd name="connsiteX0" fmla="*/ 8708736 w 8708736"/>
              <a:gd name="connsiteY0" fmla="*/ 9237 h 6877028"/>
              <a:gd name="connsiteX1" fmla="*/ 8690874 w 8708736"/>
              <a:gd name="connsiteY1" fmla="*/ 6874702 h 6877028"/>
              <a:gd name="connsiteX2" fmla="*/ 6585461 w 8708736"/>
              <a:gd name="connsiteY2" fmla="*/ 6877028 h 6877028"/>
              <a:gd name="connsiteX3" fmla="*/ 5427518 w 8708736"/>
              <a:gd name="connsiteY3" fmla="*/ 5882987 h 6877028"/>
              <a:gd name="connsiteX4" fmla="*/ 3572741 w 8708736"/>
              <a:gd name="connsiteY4" fmla="*/ 2469573 h 6877028"/>
              <a:gd name="connsiteX5" fmla="*/ 0 w 8708736"/>
              <a:gd name="connsiteY5" fmla="*/ 0 h 6877028"/>
              <a:gd name="connsiteX6" fmla="*/ 8708736 w 8708736"/>
              <a:gd name="connsiteY6" fmla="*/ 9237 h 687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8736" h="6877028">
                <a:moveTo>
                  <a:pt x="8708736" y="9237"/>
                </a:moveTo>
                <a:cubicBezTo>
                  <a:pt x="8700269" y="2295814"/>
                  <a:pt x="8699341" y="4588125"/>
                  <a:pt x="8690874" y="6874702"/>
                </a:cubicBezTo>
                <a:lnTo>
                  <a:pt x="6585461" y="6877028"/>
                </a:lnTo>
                <a:lnTo>
                  <a:pt x="5427518" y="5882987"/>
                </a:lnTo>
                <a:cubicBezTo>
                  <a:pt x="6753610" y="3708305"/>
                  <a:pt x="4242377" y="2770621"/>
                  <a:pt x="3572741" y="2469573"/>
                </a:cubicBezTo>
                <a:cubicBezTo>
                  <a:pt x="2903105" y="2168525"/>
                  <a:pt x="533593" y="1597506"/>
                  <a:pt x="0" y="0"/>
                </a:cubicBezTo>
                <a:lnTo>
                  <a:pt x="8708736" y="923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2" dirty="0">
              <a:latin typeface="Arial" pitchFamily="34" charset="0"/>
              <a:cs typeface="Arial" pitchFamily="34" charset="0"/>
            </a:endParaRPr>
          </a:p>
        </p:txBody>
      </p:sp>
      <p:sp>
        <p:nvSpPr>
          <p:cNvPr id="9" name="Titre 1"/>
          <p:cNvSpPr>
            <a:spLocks noGrp="1"/>
          </p:cNvSpPr>
          <p:nvPr>
            <p:ph type="title" hasCustomPrompt="1"/>
            <p:custDataLst>
              <p:tags r:id="rId1"/>
            </p:custDataLst>
          </p:nvPr>
        </p:nvSpPr>
        <p:spPr>
          <a:xfrm>
            <a:off x="5613400" y="572851"/>
            <a:ext cx="6121400" cy="1199092"/>
          </a:xfrm>
          <a:prstGeom prst="rect">
            <a:avLst/>
          </a:prstGeom>
        </p:spPr>
        <p:txBody>
          <a:bodyPr vert="horz" lIns="0" tIns="33059" rIns="0" bIns="33059" rtlCol="0" anchor="ctr" anchorCtr="0">
            <a:noAutofit/>
          </a:bodyPr>
          <a:lstStyle>
            <a:lvl1pPr algn="r" defTabSz="1556000" rtl="0" eaLnBrk="1" latinLnBrk="0" hangingPunct="1">
              <a:spcBef>
                <a:spcPct val="0"/>
              </a:spcBef>
              <a:buNone/>
              <a:defRPr lang="en-US" sz="4765"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0" name="Text Placeholder 5"/>
          <p:cNvSpPr>
            <a:spLocks noGrp="1"/>
          </p:cNvSpPr>
          <p:nvPr>
            <p:ph type="body" sz="quarter" idx="10"/>
          </p:nvPr>
        </p:nvSpPr>
        <p:spPr>
          <a:xfrm>
            <a:off x="5613400" y="1878012"/>
            <a:ext cx="6121400" cy="410369"/>
          </a:xfrm>
        </p:spPr>
        <p:txBody>
          <a:bodyPr lIns="0" rIns="0"/>
          <a:lstStyle>
            <a:lvl1pPr marL="0" indent="0" algn="r">
              <a:buNone/>
              <a:defRPr sz="3403">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pic>
        <p:nvPicPr>
          <p:cNvPr id="11"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072" r="38344"/>
          <a:stretch/>
        </p:blipFill>
        <p:spPr>
          <a:xfrm>
            <a:off x="1" y="325828"/>
            <a:ext cx="6337163" cy="6532173"/>
          </a:xfrm>
          <a:prstGeom prst="rect">
            <a:avLst/>
          </a:prstGeom>
        </p:spPr>
      </p:pic>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041505" y="5852232"/>
            <a:ext cx="565808" cy="612832"/>
          </a:xfrm>
          <a:prstGeom prst="rect">
            <a:avLst/>
          </a:prstGeom>
        </p:spPr>
      </p:pic>
    </p:spTree>
    <p:extLst>
      <p:ext uri="{BB962C8B-B14F-4D97-AF65-F5344CB8AC3E}">
        <p14:creationId xmlns:p14="http://schemas.microsoft.com/office/powerpoint/2010/main" val="15470190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sp>
        <p:nvSpPr>
          <p:cNvPr id="1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4598796" y="-726823"/>
            <a:ext cx="6866376" cy="8320025"/>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5134707 w 6857999"/>
              <a:gd name="connsiteY3" fmla="*/ 3984163 h 6240016"/>
              <a:gd name="connsiteX4" fmla="*/ 2767903 w 6857999"/>
              <a:gd name="connsiteY4" fmla="*/ 5342723 h 6240016"/>
              <a:gd name="connsiteX5" fmla="*/ 1497189 w 6857999"/>
              <a:gd name="connsiteY5" fmla="*/ 6201822 h 6240016"/>
              <a:gd name="connsiteX6" fmla="*/ 1393480 w 6857999"/>
              <a:gd name="connsiteY6" fmla="*/ 6240016 h 6240016"/>
              <a:gd name="connsiteX7" fmla="*/ 0 w 6857999"/>
              <a:gd name="connsiteY7" fmla="*/ 618342 h 6240016"/>
              <a:gd name="connsiteX8" fmla="*/ 0 w 6857999"/>
              <a:gd name="connsiteY8" fmla="*/ 6240016 h 6240016"/>
              <a:gd name="connsiteX9" fmla="*/ 921827 w 6857999"/>
              <a:gd name="connsiteY9" fmla="*/ 6240016 h 6240016"/>
              <a:gd name="connsiteX10" fmla="*/ 877464 w 6857999"/>
              <a:gd name="connsiteY10" fmla="*/ 6206986 h 6240016"/>
              <a:gd name="connsiteX11" fmla="*/ 1720124 w 6857999"/>
              <a:gd name="connsiteY11" fmla="*/ 3319666 h 6240016"/>
              <a:gd name="connsiteX12" fmla="*/ 1778012 w 6857999"/>
              <a:gd name="connsiteY12" fmla="*/ 0 h 6240016"/>
              <a:gd name="connsiteX13" fmla="*/ 36658 w 6857999"/>
              <a:gd name="connsiteY13" fmla="*/ 619001 h 6240016"/>
              <a:gd name="connsiteX14" fmla="*/ 0 w 6857999"/>
              <a:gd name="connsiteY14" fmla="*/ 618342 h 6240016"/>
              <a:gd name="connsiteX0" fmla="*/ 1393480 w 5134707"/>
              <a:gd name="connsiteY0" fmla="*/ 6240016 h 6240016"/>
              <a:gd name="connsiteX1" fmla="*/ 5099537 w 5134707"/>
              <a:gd name="connsiteY1" fmla="*/ 6234993 h 6240016"/>
              <a:gd name="connsiteX2" fmla="*/ 5134707 w 5134707"/>
              <a:gd name="connsiteY2" fmla="*/ 3984163 h 6240016"/>
              <a:gd name="connsiteX3" fmla="*/ 2767903 w 5134707"/>
              <a:gd name="connsiteY3" fmla="*/ 5342723 h 6240016"/>
              <a:gd name="connsiteX4" fmla="*/ 1497189 w 5134707"/>
              <a:gd name="connsiteY4" fmla="*/ 6201822 h 6240016"/>
              <a:gd name="connsiteX5" fmla="*/ 1393480 w 5134707"/>
              <a:gd name="connsiteY5" fmla="*/ 6240016 h 6240016"/>
              <a:gd name="connsiteX6" fmla="*/ 0 w 5134707"/>
              <a:gd name="connsiteY6" fmla="*/ 618342 h 6240016"/>
              <a:gd name="connsiteX7" fmla="*/ 0 w 5134707"/>
              <a:gd name="connsiteY7" fmla="*/ 6240016 h 6240016"/>
              <a:gd name="connsiteX8" fmla="*/ 921827 w 5134707"/>
              <a:gd name="connsiteY8" fmla="*/ 6240016 h 6240016"/>
              <a:gd name="connsiteX9" fmla="*/ 877464 w 5134707"/>
              <a:gd name="connsiteY9" fmla="*/ 6206986 h 6240016"/>
              <a:gd name="connsiteX10" fmla="*/ 1720124 w 5134707"/>
              <a:gd name="connsiteY10" fmla="*/ 3319666 h 6240016"/>
              <a:gd name="connsiteX11" fmla="*/ 1778012 w 5134707"/>
              <a:gd name="connsiteY11" fmla="*/ 0 h 6240016"/>
              <a:gd name="connsiteX12" fmla="*/ 36658 w 5134707"/>
              <a:gd name="connsiteY12" fmla="*/ 619001 h 6240016"/>
              <a:gd name="connsiteX13" fmla="*/ 0 w 5134707"/>
              <a:gd name="connsiteY13" fmla="*/ 618342 h 6240016"/>
              <a:gd name="connsiteX0" fmla="*/ 1393480 w 5149779"/>
              <a:gd name="connsiteY0" fmla="*/ 6240016 h 6240016"/>
              <a:gd name="connsiteX1" fmla="*/ 5149779 w 5149779"/>
              <a:gd name="connsiteY1" fmla="*/ 6234993 h 6240016"/>
              <a:gd name="connsiteX2" fmla="*/ 5134707 w 5149779"/>
              <a:gd name="connsiteY2" fmla="*/ 3984163 h 6240016"/>
              <a:gd name="connsiteX3" fmla="*/ 2767903 w 5149779"/>
              <a:gd name="connsiteY3" fmla="*/ 5342723 h 6240016"/>
              <a:gd name="connsiteX4" fmla="*/ 1497189 w 5149779"/>
              <a:gd name="connsiteY4" fmla="*/ 6201822 h 6240016"/>
              <a:gd name="connsiteX5" fmla="*/ 1393480 w 5149779"/>
              <a:gd name="connsiteY5" fmla="*/ 6240016 h 6240016"/>
              <a:gd name="connsiteX6" fmla="*/ 0 w 5149779"/>
              <a:gd name="connsiteY6" fmla="*/ 618342 h 6240016"/>
              <a:gd name="connsiteX7" fmla="*/ 0 w 5149779"/>
              <a:gd name="connsiteY7" fmla="*/ 6240016 h 6240016"/>
              <a:gd name="connsiteX8" fmla="*/ 921827 w 5149779"/>
              <a:gd name="connsiteY8" fmla="*/ 6240016 h 6240016"/>
              <a:gd name="connsiteX9" fmla="*/ 877464 w 5149779"/>
              <a:gd name="connsiteY9" fmla="*/ 6206986 h 6240016"/>
              <a:gd name="connsiteX10" fmla="*/ 1720124 w 5149779"/>
              <a:gd name="connsiteY10" fmla="*/ 3319666 h 6240016"/>
              <a:gd name="connsiteX11" fmla="*/ 1778012 w 5149779"/>
              <a:gd name="connsiteY11" fmla="*/ 0 h 6240016"/>
              <a:gd name="connsiteX12" fmla="*/ 36658 w 5149779"/>
              <a:gd name="connsiteY12" fmla="*/ 619001 h 6240016"/>
              <a:gd name="connsiteX13" fmla="*/ 0 w 5149779"/>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9780" h="6240016">
                <a:moveTo>
                  <a:pt x="1393480" y="6240016"/>
                </a:moveTo>
                <a:lnTo>
                  <a:pt x="5149779" y="6234993"/>
                </a:lnTo>
                <a:cubicBezTo>
                  <a:pt x="5149779" y="5484716"/>
                  <a:pt x="5149780" y="4734440"/>
                  <a:pt x="5149780" y="3984163"/>
                </a:cubicBezTo>
                <a:cubicBezTo>
                  <a:pt x="3520588" y="4384034"/>
                  <a:pt x="3215893" y="4963068"/>
                  <a:pt x="2767903" y="5342723"/>
                </a:cubicBezTo>
                <a:cubicBezTo>
                  <a:pt x="2224582" y="5803167"/>
                  <a:pt x="1804503" y="6071896"/>
                  <a:pt x="1497189" y="6201822"/>
                </a:cubicBezTo>
                <a:lnTo>
                  <a:pt x="1393480" y="6240016"/>
                </a:ln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lnTo>
                  <a:pt x="0" y="618342"/>
                </a:lnTo>
                <a:close/>
              </a:path>
            </a:pathLst>
          </a:custGeom>
          <a:solidFill>
            <a:srgbClr val="8EC63E"/>
          </a:solidFill>
          <a:ln>
            <a:noFill/>
          </a:ln>
        </p:spPr>
        <p:txBody>
          <a:bodyPr vert="horz" wrap="square" lIns="155610" tIns="77805" rIns="155610" bIns="77805" numCol="1" anchor="t" anchorCtr="0" compatLnSpc="1">
            <a:prstTxWarp prst="textNoShape">
              <a:avLst/>
            </a:prstTxWarp>
            <a:noAutofit/>
          </a:bodyPr>
          <a:lstStyle/>
          <a:p>
            <a:endParaRPr lang="en-US" sz="5524" dirty="0"/>
          </a:p>
        </p:txBody>
      </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3"/>
            <a:ext cx="6121400" cy="1199092"/>
          </a:xfrm>
          <a:prstGeom prst="rect">
            <a:avLst/>
          </a:prstGeom>
        </p:spPr>
        <p:txBody>
          <a:bodyPr vert="horz" lIns="0" tIns="33059" rIns="66118" bIns="33059" rtlCol="0" anchor="ctr" anchorCtr="0">
            <a:noAutofit/>
          </a:bodyPr>
          <a:lstStyle>
            <a:lvl1pPr algn="l" defTabSz="1556000" rtl="0" eaLnBrk="1" latinLnBrk="0" hangingPunct="1">
              <a:spcBef>
                <a:spcPct val="0"/>
              </a:spcBef>
              <a:buNone/>
              <a:defRPr lang="en-US" sz="4765"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6" name="Text Placeholder 5"/>
          <p:cNvSpPr>
            <a:spLocks noGrp="1"/>
          </p:cNvSpPr>
          <p:nvPr>
            <p:ph type="body" sz="quarter" idx="10"/>
          </p:nvPr>
        </p:nvSpPr>
        <p:spPr>
          <a:xfrm>
            <a:off x="716280" y="5706995"/>
            <a:ext cx="6121400" cy="410369"/>
          </a:xfrm>
        </p:spPr>
        <p:txBody>
          <a:bodyPr lIns="0"/>
          <a:lstStyle>
            <a:lvl1pPr marL="0" indent="0" algn="l">
              <a:buNone/>
              <a:defRPr sz="3403">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spTree>
    <p:extLst>
      <p:ext uri="{BB962C8B-B14F-4D97-AF65-F5344CB8AC3E}">
        <p14:creationId xmlns:p14="http://schemas.microsoft.com/office/powerpoint/2010/main" val="5374701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69"/>
            <a:ext cx="11793979" cy="4643751"/>
          </a:xfrm>
        </p:spPr>
        <p:txBody>
          <a:bodyPr/>
          <a:lstStyle>
            <a:lvl1pPr>
              <a:buClr>
                <a:schemeClr val="accent2"/>
              </a:buClr>
              <a:defRPr b="0"/>
            </a:lvl1pPr>
            <a:lvl2pPr marL="680793" indent="-262052">
              <a:buFont typeface="Arial" panose="020B0604020202020204" pitchFamily="34" charset="0"/>
              <a:buChar char="̶"/>
              <a:defRPr/>
            </a:lvl2pPr>
            <a:lvl3pPr marL="972562" indent="-237737">
              <a:defRPr/>
            </a:lvl3pPr>
            <a:lvl4pPr marL="1264331" indent="-237737">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7726537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2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1166858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3403"/>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69"/>
            <a:ext cx="11793979" cy="4643751"/>
          </a:xfrm>
        </p:spPr>
        <p:txBody>
          <a:bodyPr/>
          <a:lstStyle>
            <a:lvl1pPr>
              <a:buClr>
                <a:schemeClr val="accent2"/>
              </a:buClr>
              <a:defRPr b="0"/>
            </a:lvl1pPr>
            <a:lvl2pPr marL="680793" indent="-262052">
              <a:buFont typeface="Arial" panose="020B0604020202020204" pitchFamily="34" charset="0"/>
              <a:buChar char="̶"/>
              <a:defRPr/>
            </a:lvl2pPr>
            <a:lvl3pPr marL="972562" indent="-237737">
              <a:defRPr/>
            </a:lvl3pPr>
            <a:lvl4pPr marL="1264331" indent="-237737">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15746958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2" y="1494769"/>
            <a:ext cx="5573288" cy="4643751"/>
          </a:xfrm>
        </p:spPr>
        <p:txBody>
          <a:bodyPr/>
          <a:lstStyle>
            <a:lvl1pPr>
              <a:buClr>
                <a:schemeClr val="accent2"/>
              </a:buClr>
              <a:defRPr sz="1800" b="0"/>
            </a:lvl1pPr>
            <a:lvl2pPr marL="680793" indent="-262052">
              <a:buFont typeface="Arial" panose="020B0604020202020204" pitchFamily="34" charset="0"/>
              <a:buChar char="̶"/>
              <a:defRPr sz="1600"/>
            </a:lvl2pPr>
            <a:lvl3pPr marL="972562" indent="-237737">
              <a:defRPr sz="1400"/>
            </a:lvl3pPr>
            <a:lvl4pPr marL="1264331" indent="-237737">
              <a:buFont typeface="Courier New" panose="02070309020205020404" pitchFamily="49" charset="0"/>
              <a:buChar char="o"/>
              <a:defRPr sz="18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p:txBody>
      </p:sp>
      <p:sp>
        <p:nvSpPr>
          <p:cNvPr id="6" name="Text Placeholder 5">
            <a:extLst>
              <a:ext uri="{FF2B5EF4-FFF2-40B4-BE49-F238E27FC236}">
                <a16:creationId xmlns:a16="http://schemas.microsoft.com/office/drawing/2014/main" id="{CA6792A8-BC96-41EE-BA9A-D2A050377FAB}"/>
              </a:ext>
            </a:extLst>
          </p:cNvPr>
          <p:cNvSpPr>
            <a:spLocks noGrp="1"/>
          </p:cNvSpPr>
          <p:nvPr>
            <p:ph type="body" sz="quarter" idx="10"/>
          </p:nvPr>
        </p:nvSpPr>
        <p:spPr>
          <a:xfrm>
            <a:off x="6303963" y="1495425"/>
            <a:ext cx="5568950" cy="4643095"/>
          </a:xfrm>
        </p:spPr>
        <p:txBody>
          <a:bodyPr/>
          <a:lstStyle>
            <a:lvl1pPr>
              <a:defRPr sz="1800"/>
            </a:lvl1pPr>
            <a:lvl2pPr>
              <a:defRPr sz="1600"/>
            </a:lvl2pPr>
            <a:lvl3pPr>
              <a:defRPr sz="1400"/>
            </a:lvl3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233877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3_V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371784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ontent &amp; Leadline">
    <p:spTree>
      <p:nvGrpSpPr>
        <p:cNvPr id="1" name=""/>
        <p:cNvGrpSpPr/>
        <p:nvPr/>
      </p:nvGrpSpPr>
      <p:grpSpPr>
        <a:xfrm>
          <a:off x="0" y="0"/>
          <a:ext cx="0" cy="0"/>
          <a:chOff x="0" y="0"/>
          <a:chExt cx="0" cy="0"/>
        </a:xfrm>
      </p:grpSpPr>
      <p:sp>
        <p:nvSpPr>
          <p:cNvPr id="12" name="Freeform 11"/>
          <p:cNvSpPr/>
          <p:nvPr userDrawn="1"/>
        </p:nvSpPr>
        <p:spPr>
          <a:xfrm flipH="1">
            <a:off x="9343145" y="-8075"/>
            <a:ext cx="2856932" cy="1787822"/>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7392" h="1474528">
                <a:moveTo>
                  <a:pt x="4549" y="0"/>
                </a:moveTo>
                <a:lnTo>
                  <a:pt x="4226257" y="0"/>
                </a:lnTo>
                <a:cubicBezTo>
                  <a:pt x="4309660" y="189553"/>
                  <a:pt x="4370317" y="224429"/>
                  <a:pt x="4367284" y="746078"/>
                </a:cubicBezTo>
                <a:cubicBezTo>
                  <a:pt x="3311857" y="962927"/>
                  <a:pt x="1501253" y="1857612"/>
                  <a:pt x="0" y="1287439"/>
                </a:cubicBezTo>
                <a:cubicBezTo>
                  <a:pt x="1516" y="858293"/>
                  <a:pt x="3033" y="429146"/>
                  <a:pt x="4549"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84" dirty="0">
              <a:solidFill>
                <a:schemeClr val="tx2">
                  <a:lumMod val="50000"/>
                </a:schemeClr>
              </a:solidFill>
            </a:endParaRPr>
          </a:p>
        </p:txBody>
      </p:sp>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a:xfrm>
            <a:off x="6" y="1"/>
            <a:ext cx="9197588" cy="1062180"/>
          </a:xfrm>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955801"/>
            <a:ext cx="11793979" cy="4026560"/>
          </a:xfrm>
        </p:spPr>
        <p:txBody>
          <a:bodyPr/>
          <a:lstStyle>
            <a:lvl1pPr>
              <a:buClr>
                <a:schemeClr val="accent2"/>
              </a:buClr>
              <a:defRPr b="0"/>
            </a:lvl1pPr>
            <a:lvl2pPr marL="680793" indent="-262052">
              <a:buFont typeface="Arial" panose="020B0604020202020204" pitchFamily="34" charset="0"/>
              <a:buChar char="̶"/>
              <a:defRPr/>
            </a:lvl2pPr>
            <a:lvl3pPr marL="972562" indent="-237737">
              <a:defRPr/>
            </a:lvl3pPr>
            <a:lvl4pPr marL="1264331" indent="-237737">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2" y="1495451"/>
            <a:ext cx="9857879" cy="460353"/>
          </a:xfrm>
        </p:spPr>
        <p:txBody>
          <a:bodyPr/>
          <a:lstStyle>
            <a:lvl1pPr marL="0" indent="0">
              <a:buNone/>
              <a:defRPr sz="3063"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982131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8"/>
          <p:cNvSpPr/>
          <p:nvPr userDrawn="1"/>
        </p:nvSpPr>
        <p:spPr>
          <a:xfrm flipH="1">
            <a:off x="-2" y="5"/>
            <a:ext cx="5677239" cy="6089301"/>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2246" h="5938447">
                <a:moveTo>
                  <a:pt x="0" y="0"/>
                </a:moveTo>
                <a:lnTo>
                  <a:pt x="5940370" y="0"/>
                </a:lnTo>
                <a:cubicBezTo>
                  <a:pt x="5933871" y="1727873"/>
                  <a:pt x="5946869" y="3455745"/>
                  <a:pt x="5940370" y="5183618"/>
                </a:cubicBezTo>
                <a:cubicBezTo>
                  <a:pt x="5649138" y="5507350"/>
                  <a:pt x="3902952" y="6614277"/>
                  <a:pt x="2709867" y="5339500"/>
                </a:cubicBezTo>
                <a:cubicBezTo>
                  <a:pt x="3232707" y="4545548"/>
                  <a:pt x="234667" y="1659579"/>
                  <a:pt x="0" y="0"/>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2" dirty="0">
              <a:latin typeface="Arial" pitchFamily="34" charset="0"/>
              <a:cs typeface="Arial" pitchFamily="34" charset="0"/>
            </a:endParaRPr>
          </a:p>
        </p:txBody>
      </p:sp>
      <p:sp>
        <p:nvSpPr>
          <p:cNvPr id="10" name="Title Placeholder 1"/>
          <p:cNvSpPr>
            <a:spLocks noGrp="1"/>
          </p:cNvSpPr>
          <p:nvPr>
            <p:ph type="title"/>
          </p:nvPr>
        </p:nvSpPr>
        <p:spPr>
          <a:xfrm>
            <a:off x="18487" y="33684"/>
            <a:ext cx="536073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351531" y="251520"/>
            <a:ext cx="565808" cy="612832"/>
          </a:xfrm>
          <a:prstGeom prst="rect">
            <a:avLst/>
          </a:prstGeom>
        </p:spPr>
      </p:pic>
    </p:spTree>
    <p:extLst>
      <p:ext uri="{BB962C8B-B14F-4D97-AF65-F5344CB8AC3E}">
        <p14:creationId xmlns:p14="http://schemas.microsoft.com/office/powerpoint/2010/main" val="44007659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Content &amp; Leadline">
    <p:spTree>
      <p:nvGrpSpPr>
        <p:cNvPr id="1" name=""/>
        <p:cNvGrpSpPr/>
        <p:nvPr/>
      </p:nvGrpSpPr>
      <p:grpSpPr>
        <a:xfrm>
          <a:off x="0" y="0"/>
          <a:ext cx="0" cy="0"/>
          <a:chOff x="0" y="0"/>
          <a:chExt cx="0" cy="0"/>
        </a:xfrm>
      </p:grpSpPr>
      <p:sp>
        <p:nvSpPr>
          <p:cNvPr id="7" name="Freeform 6"/>
          <p:cNvSpPr/>
          <p:nvPr userDrawn="1"/>
        </p:nvSpPr>
        <p:spPr>
          <a:xfrm>
            <a:off x="-1022" y="-12073"/>
            <a:ext cx="12223287" cy="1578395"/>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84" dirty="0">
              <a:solidFill>
                <a:schemeClr val="tx2">
                  <a:lumMod val="50000"/>
                </a:schemeClr>
              </a:solidFill>
            </a:endParaRPr>
          </a:p>
        </p:txBody>
      </p:sp>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3403">
                <a:solidFill>
                  <a:schemeClr val="bg1"/>
                </a:solidFill>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955801"/>
            <a:ext cx="11793979" cy="4026560"/>
          </a:xfrm>
        </p:spPr>
        <p:txBody>
          <a:bodyPr/>
          <a:lstStyle>
            <a:lvl1pPr>
              <a:buClr>
                <a:schemeClr val="accent2"/>
              </a:buClr>
              <a:defRPr b="0"/>
            </a:lvl1pPr>
            <a:lvl2pPr marL="680793" indent="-262052">
              <a:buFont typeface="Arial" panose="020B0604020202020204" pitchFamily="34" charset="0"/>
              <a:buChar char="̶"/>
              <a:defRPr/>
            </a:lvl2pPr>
            <a:lvl3pPr marL="972562" indent="-237737">
              <a:defRPr/>
            </a:lvl3pPr>
            <a:lvl4pPr marL="1264331" indent="-237737">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0" y="1495451"/>
            <a:ext cx="11813715" cy="460353"/>
          </a:xfrm>
        </p:spPr>
        <p:txBody>
          <a:bodyPr/>
          <a:lstStyle>
            <a:lvl1pPr marL="0" indent="0">
              <a:buNone/>
              <a:defRPr sz="3063"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23126863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Content Master">
    <p:bg>
      <p:bgPr>
        <a:solidFill>
          <a:schemeClr val="bg1"/>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16121" y="1"/>
            <a:ext cx="5818953" cy="6858000"/>
            <a:chOff x="-12091" y="-1"/>
            <a:chExt cx="4907046" cy="5783260"/>
          </a:xfrm>
        </p:grpSpPr>
        <p:sp>
          <p:nvSpPr>
            <p:cNvPr id="5" name="Rectangle 4">
              <a:extLst>
                <a:ext uri="{FF2B5EF4-FFF2-40B4-BE49-F238E27FC236}">
                  <a16:creationId xmlns:a16="http://schemas.microsoft.com/office/drawing/2014/main" id="{9455EBB8-DB3C-45D2-B02F-0B36A58E555B}"/>
                </a:ext>
              </a:extLst>
            </p:cNvPr>
            <p:cNvSpPr/>
            <p:nvPr userDrawn="1"/>
          </p:nvSpPr>
          <p:spPr>
            <a:xfrm>
              <a:off x="-1" y="0"/>
              <a:ext cx="3845326" cy="5783259"/>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5524"/>
            </a:p>
          </p:txBody>
        </p:sp>
        <p:sp>
          <p:nvSpPr>
            <p:cNvPr id="7" name="Freeform 13"/>
            <p:cNvSpPr>
              <a:spLocks/>
            </p:cNvSpPr>
            <p:nvPr userDrawn="1"/>
          </p:nvSpPr>
          <p:spPr bwMode="auto">
            <a:xfrm>
              <a:off x="-12091" y="-1"/>
              <a:ext cx="4907046" cy="2458586"/>
            </a:xfrm>
            <a:custGeom>
              <a:avLst/>
              <a:gdLst>
                <a:gd name="T0" fmla="*/ 1586 w 1862"/>
                <a:gd name="T1" fmla="*/ 0 h 2254"/>
                <a:gd name="T2" fmla="*/ 1698 w 1862"/>
                <a:gd name="T3" fmla="*/ 966 h 2254"/>
                <a:gd name="T4" fmla="*/ 359 w 1862"/>
                <a:gd name="T5" fmla="*/ 2142 h 2254"/>
                <a:gd name="T6" fmla="*/ 0 w 1862"/>
                <a:gd name="T7" fmla="*/ 2025 h 2254"/>
                <a:gd name="T8" fmla="*/ 0 w 1862"/>
                <a:gd name="T9" fmla="*/ 0 h 2254"/>
                <a:gd name="T10" fmla="*/ 1586 w 1862"/>
                <a:gd name="T11" fmla="*/ 0 h 2254"/>
                <a:gd name="connsiteX0" fmla="*/ 8542 w 9422"/>
                <a:gd name="connsiteY0" fmla="*/ 28 h 9647"/>
                <a:gd name="connsiteX1" fmla="*/ 9143 w 9422"/>
                <a:gd name="connsiteY1" fmla="*/ 4314 h 9647"/>
                <a:gd name="connsiteX2" fmla="*/ 1952 w 9422"/>
                <a:gd name="connsiteY2" fmla="*/ 9531 h 9647"/>
                <a:gd name="connsiteX3" fmla="*/ 0 w 9422"/>
                <a:gd name="connsiteY3" fmla="*/ 8063 h 9647"/>
                <a:gd name="connsiteX4" fmla="*/ 24 w 9422"/>
                <a:gd name="connsiteY4" fmla="*/ 28 h 9647"/>
                <a:gd name="connsiteX5" fmla="*/ 8542 w 9422"/>
                <a:gd name="connsiteY5" fmla="*/ 28 h 9647"/>
                <a:gd name="connsiteX0" fmla="*/ 9066 w 10000"/>
                <a:gd name="connsiteY0" fmla="*/ 0 h 9971"/>
                <a:gd name="connsiteX1" fmla="*/ 9704 w 10000"/>
                <a:gd name="connsiteY1" fmla="*/ 4443 h 9971"/>
                <a:gd name="connsiteX2" fmla="*/ 2072 w 10000"/>
                <a:gd name="connsiteY2" fmla="*/ 9851 h 9971"/>
                <a:gd name="connsiteX3" fmla="*/ 0 w 10000"/>
                <a:gd name="connsiteY3" fmla="*/ 8329 h 9971"/>
                <a:gd name="connsiteX4" fmla="*/ 25 w 10000"/>
                <a:gd name="connsiteY4" fmla="*/ 0 h 9971"/>
                <a:gd name="connsiteX5" fmla="*/ 9066 w 10000"/>
                <a:gd name="connsiteY5" fmla="*/ 0 h 9971"/>
                <a:gd name="connsiteX0" fmla="*/ 9066 w 10000"/>
                <a:gd name="connsiteY0" fmla="*/ 0 h 9813"/>
                <a:gd name="connsiteX1" fmla="*/ 9704 w 10000"/>
                <a:gd name="connsiteY1" fmla="*/ 4456 h 9813"/>
                <a:gd name="connsiteX2" fmla="*/ 3628 w 10000"/>
                <a:gd name="connsiteY2" fmla="*/ 9813 h 9813"/>
                <a:gd name="connsiteX3" fmla="*/ 0 w 10000"/>
                <a:gd name="connsiteY3" fmla="*/ 8353 h 9813"/>
                <a:gd name="connsiteX4" fmla="*/ 25 w 10000"/>
                <a:gd name="connsiteY4" fmla="*/ 0 h 9813"/>
                <a:gd name="connsiteX5" fmla="*/ 9066 w 10000"/>
                <a:gd name="connsiteY5" fmla="*/ 0 h 9813"/>
                <a:gd name="connsiteX0" fmla="*/ 9066 w 10067"/>
                <a:gd name="connsiteY0" fmla="*/ 0 h 10060"/>
                <a:gd name="connsiteX1" fmla="*/ 9781 w 10067"/>
                <a:gd name="connsiteY1" fmla="*/ 6349 h 10060"/>
                <a:gd name="connsiteX2" fmla="*/ 3628 w 10067"/>
                <a:gd name="connsiteY2" fmla="*/ 10000 h 10060"/>
                <a:gd name="connsiteX3" fmla="*/ 0 w 10067"/>
                <a:gd name="connsiteY3" fmla="*/ 8512 h 10060"/>
                <a:gd name="connsiteX4" fmla="*/ 25 w 10067"/>
                <a:gd name="connsiteY4" fmla="*/ 0 h 10060"/>
                <a:gd name="connsiteX5" fmla="*/ 9066 w 10067"/>
                <a:gd name="connsiteY5" fmla="*/ 0 h 10060"/>
                <a:gd name="connsiteX0" fmla="*/ 9092 w 10071"/>
                <a:gd name="connsiteY0" fmla="*/ 0 h 10060"/>
                <a:gd name="connsiteX1" fmla="*/ 9781 w 10071"/>
                <a:gd name="connsiteY1" fmla="*/ 6349 h 10060"/>
                <a:gd name="connsiteX2" fmla="*/ 3628 w 10071"/>
                <a:gd name="connsiteY2" fmla="*/ 10000 h 10060"/>
                <a:gd name="connsiteX3" fmla="*/ 0 w 10071"/>
                <a:gd name="connsiteY3" fmla="*/ 8512 h 10060"/>
                <a:gd name="connsiteX4" fmla="*/ 25 w 10071"/>
                <a:gd name="connsiteY4" fmla="*/ 0 h 10060"/>
                <a:gd name="connsiteX5" fmla="*/ 9092 w 10071"/>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54"/>
                <a:gd name="connsiteX1" fmla="*/ 9781 w 10337"/>
                <a:gd name="connsiteY1" fmla="*/ 6349 h 10054"/>
                <a:gd name="connsiteX2" fmla="*/ 3628 w 10337"/>
                <a:gd name="connsiteY2" fmla="*/ 10000 h 10054"/>
                <a:gd name="connsiteX3" fmla="*/ 0 w 10337"/>
                <a:gd name="connsiteY3" fmla="*/ 8512 h 10054"/>
                <a:gd name="connsiteX4" fmla="*/ 25 w 10337"/>
                <a:gd name="connsiteY4" fmla="*/ 0 h 10054"/>
                <a:gd name="connsiteX5" fmla="*/ 9092 w 10337"/>
                <a:gd name="connsiteY5" fmla="*/ 0 h 10054"/>
                <a:gd name="connsiteX0" fmla="*/ 9092 w 10337"/>
                <a:gd name="connsiteY0" fmla="*/ 0 h 10104"/>
                <a:gd name="connsiteX1" fmla="*/ 9781 w 10337"/>
                <a:gd name="connsiteY1" fmla="*/ 6349 h 10104"/>
                <a:gd name="connsiteX2" fmla="*/ 3628 w 10337"/>
                <a:gd name="connsiteY2" fmla="*/ 10000 h 10104"/>
                <a:gd name="connsiteX3" fmla="*/ 0 w 10337"/>
                <a:gd name="connsiteY3" fmla="*/ 8512 h 10104"/>
                <a:gd name="connsiteX4" fmla="*/ 25 w 10337"/>
                <a:gd name="connsiteY4" fmla="*/ 0 h 10104"/>
                <a:gd name="connsiteX5" fmla="*/ 9092 w 10337"/>
                <a:gd name="connsiteY5" fmla="*/ 0 h 10104"/>
                <a:gd name="connsiteX0" fmla="*/ 9092 w 10337"/>
                <a:gd name="connsiteY0" fmla="*/ 0 h 10268"/>
                <a:gd name="connsiteX1" fmla="*/ 9781 w 10337"/>
                <a:gd name="connsiteY1" fmla="*/ 6349 h 10268"/>
                <a:gd name="connsiteX2" fmla="*/ 3475 w 10337"/>
                <a:gd name="connsiteY2" fmla="*/ 10181 h 10268"/>
                <a:gd name="connsiteX3" fmla="*/ 0 w 10337"/>
                <a:gd name="connsiteY3" fmla="*/ 8512 h 10268"/>
                <a:gd name="connsiteX4" fmla="*/ 25 w 10337"/>
                <a:gd name="connsiteY4" fmla="*/ 0 h 10268"/>
                <a:gd name="connsiteX5" fmla="*/ 9092 w 10337"/>
                <a:gd name="connsiteY5" fmla="*/ 0 h 10268"/>
                <a:gd name="connsiteX0" fmla="*/ 9092 w 10337"/>
                <a:gd name="connsiteY0" fmla="*/ 0 h 10260"/>
                <a:gd name="connsiteX1" fmla="*/ 9781 w 10337"/>
                <a:gd name="connsiteY1" fmla="*/ 6349 h 10260"/>
                <a:gd name="connsiteX2" fmla="*/ 3475 w 10337"/>
                <a:gd name="connsiteY2" fmla="*/ 10181 h 10260"/>
                <a:gd name="connsiteX3" fmla="*/ 0 w 10337"/>
                <a:gd name="connsiteY3" fmla="*/ 8512 h 10260"/>
                <a:gd name="connsiteX4" fmla="*/ 25 w 10337"/>
                <a:gd name="connsiteY4" fmla="*/ 0 h 10260"/>
                <a:gd name="connsiteX5" fmla="*/ 9092 w 10337"/>
                <a:gd name="connsiteY5" fmla="*/ 0 h 10260"/>
                <a:gd name="connsiteX0" fmla="*/ 9092 w 10337"/>
                <a:gd name="connsiteY0" fmla="*/ 0 h 10247"/>
                <a:gd name="connsiteX1" fmla="*/ 9781 w 10337"/>
                <a:gd name="connsiteY1" fmla="*/ 6349 h 10247"/>
                <a:gd name="connsiteX2" fmla="*/ 3475 w 10337"/>
                <a:gd name="connsiteY2" fmla="*/ 10181 h 10247"/>
                <a:gd name="connsiteX3" fmla="*/ 0 w 10337"/>
                <a:gd name="connsiteY3" fmla="*/ 8512 h 10247"/>
                <a:gd name="connsiteX4" fmla="*/ 25 w 10337"/>
                <a:gd name="connsiteY4" fmla="*/ 0 h 10247"/>
                <a:gd name="connsiteX5" fmla="*/ 9092 w 10337"/>
                <a:gd name="connsiteY5" fmla="*/ 0 h 10247"/>
                <a:gd name="connsiteX0" fmla="*/ 9092 w 10337"/>
                <a:gd name="connsiteY0" fmla="*/ 0 h 10284"/>
                <a:gd name="connsiteX1" fmla="*/ 9781 w 10337"/>
                <a:gd name="connsiteY1" fmla="*/ 6349 h 10284"/>
                <a:gd name="connsiteX2" fmla="*/ 3475 w 10337"/>
                <a:gd name="connsiteY2" fmla="*/ 10181 h 10284"/>
                <a:gd name="connsiteX3" fmla="*/ 0 w 10337"/>
                <a:gd name="connsiteY3" fmla="*/ 8512 h 10284"/>
                <a:gd name="connsiteX4" fmla="*/ 25 w 10337"/>
                <a:gd name="connsiteY4" fmla="*/ 0 h 10284"/>
                <a:gd name="connsiteX5" fmla="*/ 9092 w 10337"/>
                <a:gd name="connsiteY5" fmla="*/ 0 h 10284"/>
                <a:gd name="connsiteX0" fmla="*/ 9092 w 10337"/>
                <a:gd name="connsiteY0" fmla="*/ 0 h 10323"/>
                <a:gd name="connsiteX1" fmla="*/ 9781 w 10337"/>
                <a:gd name="connsiteY1" fmla="*/ 6349 h 10323"/>
                <a:gd name="connsiteX2" fmla="*/ 3475 w 10337"/>
                <a:gd name="connsiteY2" fmla="*/ 10181 h 10323"/>
                <a:gd name="connsiteX3" fmla="*/ 0 w 10337"/>
                <a:gd name="connsiteY3" fmla="*/ 8512 h 10323"/>
                <a:gd name="connsiteX4" fmla="*/ 25 w 10337"/>
                <a:gd name="connsiteY4" fmla="*/ 0 h 10323"/>
                <a:gd name="connsiteX5" fmla="*/ 9092 w 10337"/>
                <a:gd name="connsiteY5" fmla="*/ 0 h 10323"/>
                <a:gd name="connsiteX0" fmla="*/ 9092 w 10337"/>
                <a:gd name="connsiteY0" fmla="*/ 0 h 10351"/>
                <a:gd name="connsiteX1" fmla="*/ 9781 w 10337"/>
                <a:gd name="connsiteY1" fmla="*/ 6349 h 10351"/>
                <a:gd name="connsiteX2" fmla="*/ 3475 w 10337"/>
                <a:gd name="connsiteY2" fmla="*/ 10181 h 10351"/>
                <a:gd name="connsiteX3" fmla="*/ 0 w 10337"/>
                <a:gd name="connsiteY3" fmla="*/ 8512 h 10351"/>
                <a:gd name="connsiteX4" fmla="*/ 25 w 10337"/>
                <a:gd name="connsiteY4" fmla="*/ 0 h 10351"/>
                <a:gd name="connsiteX5" fmla="*/ 9092 w 10337"/>
                <a:gd name="connsiteY5" fmla="*/ 0 h 10351"/>
                <a:gd name="connsiteX0" fmla="*/ 9092 w 10337"/>
                <a:gd name="connsiteY0" fmla="*/ 0 h 10305"/>
                <a:gd name="connsiteX1" fmla="*/ 9781 w 10337"/>
                <a:gd name="connsiteY1" fmla="*/ 6349 h 10305"/>
                <a:gd name="connsiteX2" fmla="*/ 3475 w 10337"/>
                <a:gd name="connsiteY2" fmla="*/ 10181 h 10305"/>
                <a:gd name="connsiteX3" fmla="*/ 0 w 10337"/>
                <a:gd name="connsiteY3" fmla="*/ 8512 h 10305"/>
                <a:gd name="connsiteX4" fmla="*/ 25 w 10337"/>
                <a:gd name="connsiteY4" fmla="*/ 0 h 10305"/>
                <a:gd name="connsiteX5" fmla="*/ 9092 w 10337"/>
                <a:gd name="connsiteY5" fmla="*/ 0 h 10305"/>
                <a:gd name="connsiteX0" fmla="*/ 9092 w 10337"/>
                <a:gd name="connsiteY0" fmla="*/ 0 h 10300"/>
                <a:gd name="connsiteX1" fmla="*/ 9781 w 10337"/>
                <a:gd name="connsiteY1" fmla="*/ 6349 h 10300"/>
                <a:gd name="connsiteX2" fmla="*/ 3475 w 10337"/>
                <a:gd name="connsiteY2" fmla="*/ 10181 h 10300"/>
                <a:gd name="connsiteX3" fmla="*/ 0 w 10337"/>
                <a:gd name="connsiteY3" fmla="*/ 8512 h 10300"/>
                <a:gd name="connsiteX4" fmla="*/ 25 w 10337"/>
                <a:gd name="connsiteY4" fmla="*/ 0 h 10300"/>
                <a:gd name="connsiteX5" fmla="*/ 9092 w 10337"/>
                <a:gd name="connsiteY5" fmla="*/ 0 h 1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7" h="10300">
                  <a:moveTo>
                    <a:pt x="9092" y="0"/>
                  </a:moveTo>
                  <a:cubicBezTo>
                    <a:pt x="9092" y="0"/>
                    <a:pt x="11354" y="3877"/>
                    <a:pt x="9781" y="6349"/>
                  </a:cubicBezTo>
                  <a:cubicBezTo>
                    <a:pt x="8153" y="5258"/>
                    <a:pt x="5566" y="9748"/>
                    <a:pt x="3475" y="10181"/>
                  </a:cubicBezTo>
                  <a:cubicBezTo>
                    <a:pt x="1713" y="10546"/>
                    <a:pt x="967" y="10094"/>
                    <a:pt x="0" y="8512"/>
                  </a:cubicBezTo>
                  <a:cubicBezTo>
                    <a:pt x="13" y="2254"/>
                    <a:pt x="25" y="0"/>
                    <a:pt x="25" y="0"/>
                  </a:cubicBezTo>
                  <a:lnTo>
                    <a:pt x="9092"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5524" dirty="0"/>
            </a:p>
          </p:txBody>
        </p:sp>
      </p:grpSp>
      <p:sp>
        <p:nvSpPr>
          <p:cNvPr id="6"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7" y="3089438"/>
            <a:ext cx="3670827" cy="3589368"/>
          </a:xfrm>
          <a:prstGeom prst="rect">
            <a:avLst/>
          </a:prstGeom>
        </p:spPr>
        <p:txBody>
          <a:bodyPr>
            <a:noAutofit/>
          </a:bodyPr>
          <a:lstStyle>
            <a:lvl1pPr>
              <a:lnSpc>
                <a:spcPts val="2808"/>
              </a:lnSpc>
              <a:defRPr sz="2297"/>
            </a:lvl1pPr>
            <a:lvl2pPr>
              <a:lnSpc>
                <a:spcPts val="2297"/>
              </a:lnSpc>
              <a:buClr>
                <a:schemeClr val="accent3"/>
              </a:buClr>
              <a:defRPr sz="2042"/>
            </a:lvl2pPr>
            <a:lvl3pPr>
              <a:lnSpc>
                <a:spcPts val="2042"/>
              </a:lnSpc>
              <a:buClr>
                <a:schemeClr val="accent3"/>
              </a:buClr>
              <a:defRPr sz="1787"/>
            </a:lvl3pPr>
            <a:lvl4pPr>
              <a:lnSpc>
                <a:spcPts val="1787"/>
              </a:lnSpc>
              <a:buClr>
                <a:schemeClr val="accent3"/>
              </a:buClr>
              <a:defRPr sz="1532"/>
            </a:lvl4pPr>
            <a:lvl5pPr>
              <a:lnSpc>
                <a:spcPct val="100000"/>
              </a:lnSpc>
              <a:defRPr sz="1532"/>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aphicFrame>
        <p:nvGraphicFramePr>
          <p:cNvPr id="4" name="Object 3"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a:xfrm>
            <a:off x="3" y="1"/>
            <a:ext cx="5318927" cy="1062180"/>
          </a:xfrm>
        </p:spPr>
        <p:txBody>
          <a:bodyPr tIns="274320" anchor="t"/>
          <a:lstStyle>
            <a:lvl1pPr>
              <a:defRPr sz="3403">
                <a:solidFill>
                  <a:schemeClr val="bg1"/>
                </a:solidFill>
              </a:defRPr>
            </a:lvl1pPr>
          </a:lstStyle>
          <a:p>
            <a:r>
              <a:rPr lang="en-US" noProof="0" dirty="0"/>
              <a:t>Click to edit Master title style</a:t>
            </a:r>
            <a:endParaRPr lang="en-US"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333051" y="251520"/>
            <a:ext cx="565808" cy="612832"/>
          </a:xfrm>
          <a:prstGeom prst="rect">
            <a:avLst/>
          </a:prstGeom>
        </p:spPr>
      </p:pic>
    </p:spTree>
    <p:extLst>
      <p:ext uri="{BB962C8B-B14F-4D97-AF65-F5344CB8AC3E}">
        <p14:creationId xmlns:p14="http://schemas.microsoft.com/office/powerpoint/2010/main" val="264693397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blank" preserve="1">
  <p:cSld name="Vide">
    <p:bg>
      <p:bgPr>
        <a:solidFill>
          <a:srgbClr val="EDEDED"/>
        </a:solidFill>
        <a:effectLst/>
      </p:bgPr>
    </p:bg>
    <p:spTree>
      <p:nvGrpSpPr>
        <p:cNvPr id="1" name=""/>
        <p:cNvGrpSpPr/>
        <p:nvPr/>
      </p:nvGrpSpPr>
      <p:grpSpPr>
        <a:xfrm>
          <a:off x="0" y="0"/>
          <a:ext cx="0" cy="0"/>
          <a:chOff x="0" y="0"/>
          <a:chExt cx="0" cy="0"/>
        </a:xfrm>
      </p:grpSpPr>
      <p:sp>
        <p:nvSpPr>
          <p:cNvPr id="23" name="Rectangle 22"/>
          <p:cNvSpPr/>
          <p:nvPr userDrawn="1"/>
        </p:nvSpPr>
        <p:spPr>
          <a:xfrm>
            <a:off x="2" y="1"/>
            <a:ext cx="175678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84" dirty="0">
              <a:solidFill>
                <a:schemeClr val="tx2">
                  <a:lumMod val="50000"/>
                </a:schemeClr>
              </a:solidFill>
              <a:latin typeface="Segoe UI" panose="020B0502040204020203" pitchFamily="34" charset="0"/>
              <a:cs typeface="Segoe UI" panose="020B0502040204020203" pitchFamily="34" charset="0"/>
            </a:endParaRPr>
          </a:p>
        </p:txBody>
      </p:sp>
      <p:graphicFrame>
        <p:nvGraphicFramePr>
          <p:cNvPr id="2" name="Object 1" hidden="1"/>
          <p:cNvGraphicFramePr>
            <a:graphicFrameLocks noChangeAspect="1"/>
          </p:cNvGraphicFramePr>
          <p:nvPr>
            <p:custDataLst>
              <p:tags r:id="rId1"/>
            </p:custDataLst>
          </p:nvPr>
        </p:nvGraphicFramePr>
        <p:xfrm>
          <a:off x="2" y="2"/>
          <a:ext cx="180999" cy="143986"/>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2"/>
                        <a:ext cx="180999" cy="1439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6657881" y="2524336"/>
            <a:ext cx="4784284"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Segoe UI" panose="020B0502040204020203" pitchFamily="34" charset="0"/>
                <a:ea typeface="+mn-ea"/>
                <a:cs typeface="Segoe UI" panose="020B0502040204020203"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userDrawn="1"/>
        </p:nvSpPr>
        <p:spPr>
          <a:xfrm>
            <a:off x="6657880" y="2018367"/>
            <a:ext cx="2905099" cy="309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553"/>
              </a:lnSpc>
            </a:pPr>
            <a:r>
              <a:rPr lang="en-US" sz="2042" b="1" dirty="0">
                <a:solidFill>
                  <a:schemeClr val="tx2"/>
                </a:solidFill>
                <a:latin typeface="Segoe UI" panose="020B0502040204020203" pitchFamily="34" charset="0"/>
                <a:ea typeface="Verdana" panose="020B0604030504040204" pitchFamily="34" charset="0"/>
                <a:cs typeface="Segoe UI" panose="020B0502040204020203" pitchFamily="34" charset="0"/>
              </a:rPr>
              <a:t>About Capgemini</a:t>
            </a:r>
          </a:p>
        </p:txBody>
      </p:sp>
      <p:sp>
        <p:nvSpPr>
          <p:cNvPr id="10" name="Rectangle 9"/>
          <p:cNvSpPr/>
          <p:nvPr userDrawn="1"/>
        </p:nvSpPr>
        <p:spPr>
          <a:xfrm>
            <a:off x="6657881" y="4973900"/>
            <a:ext cx="3468944"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532"/>
              </a:lnSpc>
              <a:spcAft>
                <a:spcPts val="766"/>
              </a:spcAft>
            </a:pPr>
            <a:r>
              <a:rPr lang="en-US" sz="1532" dirty="0">
                <a:solidFill>
                  <a:schemeClr val="tx1"/>
                </a:solidFill>
                <a:latin typeface="Segoe UI" panose="020B0502040204020203" pitchFamily="34" charset="0"/>
                <a:ea typeface="Verdana" panose="020B0604030504040204" pitchFamily="34" charset="0"/>
                <a:cs typeface="Segoe UI" panose="020B0502040204020203" pitchFamily="34" charset="0"/>
              </a:rPr>
              <a:t>Learn more about us at</a:t>
            </a:r>
          </a:p>
          <a:p>
            <a:pPr algn="just">
              <a:lnSpc>
                <a:spcPts val="1532"/>
              </a:lnSpc>
            </a:pPr>
            <a:r>
              <a:rPr lang="en-US" sz="2382" dirty="0">
                <a:solidFill>
                  <a:schemeClr val="accent2"/>
                </a:solidFill>
                <a:latin typeface="Segoe UI" panose="020B0502040204020203" pitchFamily="34" charset="0"/>
                <a:ea typeface="Verdana" panose="020B0604030504040204" pitchFamily="34" charset="0"/>
                <a:cs typeface="Segoe UI" panose="020B0502040204020203" pitchFamily="34" charset="0"/>
              </a:rPr>
              <a:t>www.capgemini.com</a:t>
            </a:r>
          </a:p>
        </p:txBody>
      </p:sp>
      <p:sp>
        <p:nvSpPr>
          <p:cNvPr id="17" name="Rectangle 16"/>
          <p:cNvSpPr/>
          <p:nvPr userDrawn="1"/>
        </p:nvSpPr>
        <p:spPr>
          <a:xfrm>
            <a:off x="6657881" y="6247770"/>
            <a:ext cx="5213580" cy="369332"/>
          </a:xfrm>
          <a:prstGeom prst="rect">
            <a:avLst/>
          </a:prstGeom>
        </p:spPr>
        <p:txBody>
          <a:bodyPr wrap="square" lIns="0" tIns="0" rIns="0" bIns="0" anchor="b" anchorCtr="0">
            <a:spAutoFit/>
          </a:bodyPr>
          <a:lstStyle/>
          <a:p>
            <a:pPr>
              <a:spcAft>
                <a:spcPts val="766"/>
              </a:spcAft>
            </a:pPr>
            <a:r>
              <a:rPr lang="en-US" sz="800" dirty="0">
                <a:latin typeface="Segoe UI" panose="020B0502040204020203" pitchFamily="34" charset="0"/>
                <a:ea typeface="Verdana" panose="020B0604030504040204" pitchFamily="34" charset="0"/>
                <a:cs typeface="Segoe UI" panose="020B0502040204020203"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5"/>
          </p:cNvPr>
          <p:cNvSpPr/>
          <p:nvPr userDrawn="1"/>
        </p:nvSpPr>
        <p:spPr>
          <a:xfrm>
            <a:off x="11956320" y="5079047"/>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6708" tIns="58354" rIns="116708" bIns="58354" rtlCol="0" anchor="ctr"/>
          <a:lstStyle/>
          <a:p>
            <a:pPr algn="ctr"/>
            <a:endParaRPr lang="en-GB" sz="3063" dirty="0">
              <a:latin typeface="Segoe UI" panose="020B0502040204020203" pitchFamily="34" charset="0"/>
              <a:cs typeface="Segoe UI" panose="020B0502040204020203" pitchFamily="34" charset="0"/>
            </a:endParaRPr>
          </a:p>
        </p:txBody>
      </p:sp>
      <p:sp>
        <p:nvSpPr>
          <p:cNvPr id="4" name="Freeform 5"/>
          <p:cNvSpPr>
            <a:spLocks/>
          </p:cNvSpPr>
          <p:nvPr userDrawn="1"/>
        </p:nvSpPr>
        <p:spPr bwMode="auto">
          <a:xfrm>
            <a:off x="1468503" y="-14552"/>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116708" tIns="58354" rIns="116708" bIns="58354" numCol="1" anchor="t" anchorCtr="0" compatLnSpc="1">
            <a:prstTxWarp prst="textNoShape">
              <a:avLst/>
            </a:prstTxWarp>
          </a:bodyPr>
          <a:lstStyle/>
          <a:p>
            <a:endParaRPr lang="en-US" sz="3063" dirty="0">
              <a:latin typeface="Segoe UI" panose="020B0502040204020203" pitchFamily="34" charset="0"/>
              <a:cs typeface="Segoe UI" panose="020B0502040204020203" pitchFamily="34" charset="0"/>
            </a:endParaRPr>
          </a:p>
        </p:txBody>
      </p:sp>
      <p:grpSp>
        <p:nvGrpSpPr>
          <p:cNvPr id="5" name="Group 4"/>
          <p:cNvGrpSpPr/>
          <p:nvPr userDrawn="1"/>
        </p:nvGrpSpPr>
        <p:grpSpPr>
          <a:xfrm>
            <a:off x="4938561" y="2397562"/>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63" dirty="0">
                <a:latin typeface="Segoe UI" panose="020B0502040204020203" pitchFamily="34" charset="0"/>
                <a:cs typeface="Segoe UI" panose="020B0502040204020203" pitchFamily="34" charset="0"/>
              </a:endParaRPr>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063" dirty="0">
                <a:latin typeface="Segoe UI" panose="020B0502040204020203" pitchFamily="34" charset="0"/>
                <a:cs typeface="Segoe UI" panose="020B0502040204020203" pitchFamily="34" charset="0"/>
              </a:endParaRPr>
            </a:p>
          </p:txBody>
        </p:sp>
      </p:grpSp>
      <p:sp>
        <p:nvSpPr>
          <p:cNvPr id="16" name="Rectangle 15"/>
          <p:cNvSpPr/>
          <p:nvPr userDrawn="1"/>
        </p:nvSpPr>
        <p:spPr>
          <a:xfrm>
            <a:off x="803871" y="5006599"/>
            <a:ext cx="3918376" cy="779701"/>
          </a:xfrm>
          <a:prstGeom prst="rect">
            <a:avLst/>
          </a:prstGeom>
        </p:spPr>
        <p:txBody>
          <a:bodyPr wrap="square" lIns="0" tIns="0" rIns="0" bIns="0" anchor="b" anchorCtr="0">
            <a:spAutoFit/>
          </a:bodyPr>
          <a:lstStyle/>
          <a:p>
            <a:pPr>
              <a:spcAft>
                <a:spcPts val="766"/>
              </a:spcAft>
            </a:pPr>
            <a:r>
              <a:rPr lang="en-US" sz="1100" noProof="0" dirty="0">
                <a:solidFill>
                  <a:schemeClr val="bg1"/>
                </a:solidFill>
                <a:latin typeface="Segoe UI" panose="020B0502040204020203" pitchFamily="34" charset="0"/>
                <a:cs typeface="Segoe UI" panose="020B0502040204020203" pitchFamily="34" charset="0"/>
              </a:rPr>
              <a:t>This message contains information that may be privileged or confidential and is the property of the Capgemini Group.</a:t>
            </a:r>
            <a:br>
              <a:rPr lang="en-US" sz="1100" noProof="0" dirty="0">
                <a:solidFill>
                  <a:schemeClr val="bg1"/>
                </a:solidFill>
                <a:latin typeface="Segoe UI" panose="020B0502040204020203" pitchFamily="34" charset="0"/>
                <a:cs typeface="Segoe UI" panose="020B0502040204020203" pitchFamily="34" charset="0"/>
              </a:rPr>
            </a:br>
            <a:r>
              <a:rPr lang="en-US" sz="1100" noProof="0" dirty="0">
                <a:solidFill>
                  <a:schemeClr val="bg1"/>
                </a:solidFill>
                <a:latin typeface="Segoe UI" panose="020B0502040204020203" pitchFamily="34" charset="0"/>
                <a:cs typeface="Segoe UI" panose="020B0502040204020203" pitchFamily="34" charset="0"/>
              </a:rPr>
              <a:t>Copyright © 2018 Capgemini. All rights reserved.</a:t>
            </a:r>
          </a:p>
          <a:p>
            <a:pPr marL="0" marR="0" indent="0" defTabSz="1222411" rtl="0" eaLnBrk="1" fontAlgn="auto" latinLnBrk="0" hangingPunct="1">
              <a:lnSpc>
                <a:spcPct val="100000"/>
              </a:lnSpc>
              <a:spcBef>
                <a:spcPts val="0"/>
              </a:spcBef>
              <a:spcAft>
                <a:spcPts val="766"/>
              </a:spcAft>
              <a:buClrTx/>
              <a:buSzTx/>
              <a:buFontTx/>
              <a:buNone/>
              <a:tabLst/>
              <a:defRPr/>
            </a:pPr>
            <a:r>
              <a:rPr lang="en-US" sz="1100" noProof="0" dirty="0">
                <a:solidFill>
                  <a:schemeClr val="bg1"/>
                </a:solidFill>
                <a:latin typeface="Segoe UI" panose="020B0502040204020203" pitchFamily="34" charset="0"/>
                <a:cs typeface="Segoe UI" panose="020B0502040204020203" pitchFamily="34" charset="0"/>
              </a:rPr>
              <a:t>Rightshore</a:t>
            </a:r>
            <a:r>
              <a:rPr lang="en-US" sz="1100" baseline="30000" noProof="0" dirty="0">
                <a:solidFill>
                  <a:schemeClr val="bg1"/>
                </a:solidFill>
                <a:latin typeface="Segoe UI" panose="020B0502040204020203" pitchFamily="34" charset="0"/>
                <a:cs typeface="Segoe UI" panose="020B0502040204020203" pitchFamily="34" charset="0"/>
              </a:rPr>
              <a:t>®</a:t>
            </a:r>
            <a:r>
              <a:rPr lang="en-US" sz="1100" noProof="0" dirty="0">
                <a:solidFill>
                  <a:schemeClr val="bg1"/>
                </a:solidFill>
                <a:latin typeface="Segoe UI" panose="020B0502040204020203" pitchFamily="34" charset="0"/>
                <a:cs typeface="Segoe UI" panose="020B0502040204020203" pitchFamily="34" charset="0"/>
              </a:rPr>
              <a:t> is a trademark belonging to Capgemini.</a:t>
            </a:r>
          </a:p>
        </p:txBody>
      </p:sp>
      <p:sp>
        <p:nvSpPr>
          <p:cNvPr id="18" name="Rectangle 17">
            <a:hlinkClick r:id="rId6"/>
          </p:cNvPr>
          <p:cNvSpPr/>
          <p:nvPr userDrawn="1"/>
        </p:nvSpPr>
        <p:spPr>
          <a:xfrm>
            <a:off x="7003822" y="2817791"/>
            <a:ext cx="2293461" cy="124781"/>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6708" tIns="58354" rIns="116708" bIns="58354" rtlCol="0" anchor="ctr"/>
          <a:lstStyle/>
          <a:p>
            <a:pPr algn="ctr"/>
            <a:endParaRPr lang="en-GB" sz="4084" dirty="0">
              <a:latin typeface="Segoe UI" panose="020B0502040204020203" pitchFamily="34" charset="0"/>
              <a:cs typeface="Segoe UI" panose="020B0502040204020203" pitchFamily="34" charset="0"/>
            </a:endParaRPr>
          </a:p>
        </p:txBody>
      </p:sp>
      <p:pic>
        <p:nvPicPr>
          <p:cNvPr id="24"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1237871" y="3450893"/>
            <a:ext cx="436029" cy="444510"/>
          </a:xfrm>
          <a:prstGeom prst="rect">
            <a:avLst/>
          </a:prstGeom>
          <a:noFill/>
        </p:spPr>
      </p:pic>
      <p:pic>
        <p:nvPicPr>
          <p:cNvPr id="25"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739568" y="3450893"/>
            <a:ext cx="436029" cy="444510"/>
          </a:xfrm>
          <a:prstGeom prst="rect">
            <a:avLst/>
          </a:prstGeom>
          <a:noFill/>
        </p:spPr>
      </p:pic>
      <p:pic>
        <p:nvPicPr>
          <p:cNvPr id="26"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2241266" y="3450893"/>
            <a:ext cx="436029" cy="444510"/>
          </a:xfrm>
          <a:prstGeom prst="rect">
            <a:avLst/>
          </a:prstGeom>
          <a:noFill/>
        </p:spPr>
      </p:pic>
      <p:pic>
        <p:nvPicPr>
          <p:cNvPr id="27"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2742962" y="3450893"/>
            <a:ext cx="436029" cy="444510"/>
          </a:xfrm>
          <a:prstGeom prst="rect">
            <a:avLst/>
          </a:prstGeom>
          <a:noFill/>
        </p:spPr>
      </p:pic>
      <p:pic>
        <p:nvPicPr>
          <p:cNvPr id="28"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736172" y="3450893"/>
            <a:ext cx="436029" cy="444510"/>
          </a:xfrm>
          <a:prstGeom prst="rect">
            <a:avLst/>
          </a:prstGeom>
          <a:noFill/>
        </p:spPr>
      </p:pic>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26405" y="4057790"/>
            <a:ext cx="3350503" cy="268168"/>
          </a:xfrm>
          <a:prstGeom prst="rect">
            <a:avLst/>
          </a:prstGeom>
        </p:spPr>
      </p:pic>
    </p:spTree>
    <p:extLst>
      <p:ext uri="{BB962C8B-B14F-4D97-AF65-F5344CB8AC3E}">
        <p14:creationId xmlns:p14="http://schemas.microsoft.com/office/powerpoint/2010/main" val="20102326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0654352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Section Opener2">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Freeform 73"/>
          <p:cNvSpPr>
            <a:spLocks/>
          </p:cNvSpPr>
          <p:nvPr userDrawn="1"/>
        </p:nvSpPr>
        <p:spPr bwMode="auto">
          <a:xfrm flipH="1">
            <a:off x="6781800" y="-721502"/>
            <a:ext cx="7696200" cy="7579502"/>
          </a:xfrm>
          <a:custGeom>
            <a:avLst/>
            <a:gdLst>
              <a:gd name="T0" fmla="*/ 527 w 527"/>
              <a:gd name="T1" fmla="*/ 232 h 519"/>
              <a:gd name="T2" fmla="*/ 132 w 527"/>
              <a:gd name="T3" fmla="*/ 53 h 519"/>
              <a:gd name="T4" fmla="*/ 29 w 527"/>
              <a:gd name="T5" fmla="*/ 254 h 519"/>
              <a:gd name="T6" fmla="*/ 375 w 527"/>
              <a:gd name="T7" fmla="*/ 456 h 519"/>
              <a:gd name="T8" fmla="*/ 377 w 527"/>
              <a:gd name="T9" fmla="*/ 519 h 519"/>
              <a:gd name="T10" fmla="*/ 411 w 527"/>
              <a:gd name="T11" fmla="*/ 519 h 519"/>
              <a:gd name="T12" fmla="*/ 527 w 527"/>
              <a:gd name="T13" fmla="*/ 232 h 519"/>
            </a:gdLst>
            <a:ahLst/>
            <a:cxnLst>
              <a:cxn ang="0">
                <a:pos x="T0" y="T1"/>
              </a:cxn>
              <a:cxn ang="0">
                <a:pos x="T2" y="T3"/>
              </a:cxn>
              <a:cxn ang="0">
                <a:pos x="T4" y="T5"/>
              </a:cxn>
              <a:cxn ang="0">
                <a:pos x="T6" y="T7"/>
              </a:cxn>
              <a:cxn ang="0">
                <a:pos x="T8" y="T9"/>
              </a:cxn>
              <a:cxn ang="0">
                <a:pos x="T10" y="T11"/>
              </a:cxn>
              <a:cxn ang="0">
                <a:pos x="T12" y="T13"/>
              </a:cxn>
            </a:cxnLst>
            <a:rect l="0" t="0" r="r" b="b"/>
            <a:pathLst>
              <a:path w="527" h="519">
                <a:moveTo>
                  <a:pt x="527" y="232"/>
                </a:moveTo>
                <a:cubicBezTo>
                  <a:pt x="428" y="195"/>
                  <a:pt x="294" y="0"/>
                  <a:pt x="132" y="53"/>
                </a:cubicBezTo>
                <a:cubicBezTo>
                  <a:pt x="40" y="84"/>
                  <a:pt x="0" y="183"/>
                  <a:pt x="29" y="254"/>
                </a:cubicBezTo>
                <a:cubicBezTo>
                  <a:pt x="96" y="420"/>
                  <a:pt x="335" y="344"/>
                  <a:pt x="375" y="456"/>
                </a:cubicBezTo>
                <a:cubicBezTo>
                  <a:pt x="384" y="483"/>
                  <a:pt x="383" y="503"/>
                  <a:pt x="377" y="519"/>
                </a:cubicBezTo>
                <a:cubicBezTo>
                  <a:pt x="411" y="519"/>
                  <a:pt x="411" y="519"/>
                  <a:pt x="411" y="519"/>
                </a:cubicBezTo>
                <a:cubicBezTo>
                  <a:pt x="487" y="453"/>
                  <a:pt x="522" y="345"/>
                  <a:pt x="527" y="232"/>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379131" y="2719643"/>
            <a:ext cx="4751909" cy="1418714"/>
          </a:xfrm>
          <a:prstGeom prst="rect">
            <a:avLst/>
          </a:prstGeom>
        </p:spPr>
        <p:txBody>
          <a:bodyPr anchor="t" anchorCtr="0">
            <a:normAutofit/>
          </a:bodyPr>
          <a:lstStyle>
            <a:lvl1pPr marL="0" indent="0" algn="l">
              <a:lnSpc>
                <a:spcPct val="100000"/>
              </a:lnSpc>
              <a:buNone/>
              <a:defRPr sz="4400">
                <a:solidFill>
                  <a:schemeClr val="bg1"/>
                </a:solidFill>
              </a:defRPr>
            </a:lvl1pPr>
            <a:lvl2pPr marL="457200" indent="0">
              <a:buNone/>
              <a:defRPr sz="6000">
                <a:solidFill>
                  <a:schemeClr val="bg1"/>
                </a:solidFill>
              </a:defRPr>
            </a:lvl2pPr>
          </a:lstStyle>
          <a:p>
            <a:pPr lvl="0"/>
            <a:r>
              <a:rPr lang="en-US"/>
              <a:t>Click to add section title</a:t>
            </a:r>
          </a:p>
        </p:txBody>
      </p:sp>
    </p:spTree>
    <p:extLst>
      <p:ext uri="{BB962C8B-B14F-4D97-AF65-F5344CB8AC3E}">
        <p14:creationId xmlns:p14="http://schemas.microsoft.com/office/powerpoint/2010/main" val="412294841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Black_Background">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3200" y="6306704"/>
            <a:ext cx="1062165" cy="551297"/>
          </a:xfrm>
          <a:prstGeom prst="rect">
            <a:avLst/>
          </a:prstGeom>
        </p:spPr>
      </p:pic>
    </p:spTree>
    <p:extLst>
      <p:ext uri="{BB962C8B-B14F-4D97-AF65-F5344CB8AC3E}">
        <p14:creationId xmlns:p14="http://schemas.microsoft.com/office/powerpoint/2010/main" val="6320819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Black_Background">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13200" y="6306704"/>
            <a:ext cx="1062165" cy="551297"/>
          </a:xfrm>
          <a:prstGeom prst="rect">
            <a:avLst/>
          </a:prstGeom>
        </p:spPr>
      </p:pic>
    </p:spTree>
    <p:extLst>
      <p:ext uri="{BB962C8B-B14F-4D97-AF65-F5344CB8AC3E}">
        <p14:creationId xmlns:p14="http://schemas.microsoft.com/office/powerpoint/2010/main" val="1057303898"/>
      </p:ext>
    </p:extLst>
  </p:cSld>
  <p:clrMapOvr>
    <a:overrideClrMapping bg1="dk1" tx1="lt1" bg2="dk2" tx2="lt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Line Header Content">
    <p:spTree>
      <p:nvGrpSpPr>
        <p:cNvPr id="1" name=""/>
        <p:cNvGrpSpPr/>
        <p:nvPr/>
      </p:nvGrpSpPr>
      <p:grpSpPr>
        <a:xfrm>
          <a:off x="0" y="0"/>
          <a:ext cx="0" cy="0"/>
          <a:chOff x="0" y="0"/>
          <a:chExt cx="0" cy="0"/>
        </a:xfrm>
      </p:grpSpPr>
      <p:cxnSp>
        <p:nvCxnSpPr>
          <p:cNvPr id="14" name="Straight Connector 13"/>
          <p:cNvCxnSpPr/>
          <p:nvPr userDrawn="1"/>
        </p:nvCxnSpPr>
        <p:spPr>
          <a:xfrm>
            <a:off x="523393" y="458827"/>
            <a:ext cx="11129819" cy="0"/>
          </a:xfrm>
          <a:prstGeom prst="line">
            <a:avLst/>
          </a:prstGeom>
          <a:ln w="19050" cmpd="sng">
            <a:solidFill>
              <a:srgbClr val="58595B"/>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4"/>
          <p:cNvSpPr>
            <a:spLocks noGrp="1"/>
          </p:cNvSpPr>
          <p:nvPr>
            <p:ph type="body" sz="quarter" idx="10" hasCustomPrompt="1"/>
          </p:nvPr>
        </p:nvSpPr>
        <p:spPr>
          <a:xfrm>
            <a:off x="523393" y="200909"/>
            <a:ext cx="11129819" cy="218952"/>
          </a:xfrm>
          <a:prstGeom prst="rect">
            <a:avLst/>
          </a:prstGeom>
        </p:spPr>
        <p:txBody>
          <a:bodyPr vert="horz" lIns="0" tIns="0" rIns="0" bIns="0"/>
          <a:lstStyle>
            <a:lvl1pPr marL="0" indent="0">
              <a:spcBef>
                <a:spcPts val="0"/>
              </a:spcBef>
              <a:buNone/>
              <a:defRPr lang="en-US" sz="1200" b="0" i="0" kern="1200" smtClean="0">
                <a:solidFill>
                  <a:srgbClr val="58595B"/>
                </a:solidFill>
                <a:latin typeface="Helvetica" charset="0"/>
                <a:ea typeface="Helvetica" charset="0"/>
                <a:cs typeface="Helvetica" charset="0"/>
              </a:defRPr>
            </a:lvl1pPr>
          </a:lstStyle>
          <a:p>
            <a:pPr lvl="0"/>
            <a:r>
              <a:rPr lang="en-US" dirty="0"/>
              <a:t>CLICK TO EDIT MASTER TEXT STYLES</a:t>
            </a:r>
          </a:p>
        </p:txBody>
      </p:sp>
    </p:spTree>
    <p:extLst>
      <p:ext uri="{BB962C8B-B14F-4D97-AF65-F5344CB8AC3E}">
        <p14:creationId xmlns:p14="http://schemas.microsoft.com/office/powerpoint/2010/main" val="29384832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5_Titre seul">
    <p:spTree>
      <p:nvGrpSpPr>
        <p:cNvPr id="1" name=""/>
        <p:cNvGrpSpPr/>
        <p:nvPr/>
      </p:nvGrpSpPr>
      <p:grpSpPr>
        <a:xfrm>
          <a:off x="0" y="0"/>
          <a:ext cx="0" cy="0"/>
          <a:chOff x="0" y="0"/>
          <a:chExt cx="0" cy="0"/>
        </a:xfrm>
      </p:grpSpPr>
      <p:grpSp>
        <p:nvGrpSpPr>
          <p:cNvPr id="4" name="Group 3"/>
          <p:cNvGrpSpPr/>
          <p:nvPr userDrawn="1"/>
        </p:nvGrpSpPr>
        <p:grpSpPr>
          <a:xfrm>
            <a:off x="-5324" y="-11820"/>
            <a:ext cx="12216384" cy="1372079"/>
            <a:chOff x="-3993" y="-8865"/>
            <a:chExt cx="9162288" cy="1029059"/>
          </a:xfrm>
        </p:grpSpPr>
        <p:sp>
          <p:nvSpPr>
            <p:cNvPr id="8" name="Rectangle 7"/>
            <p:cNvSpPr/>
            <p:nvPr userDrawn="1">
              <p:custDataLst>
                <p:tags r:id="rId3"/>
              </p:custDataLst>
            </p:nvPr>
          </p:nvSpPr>
          <p:spPr bwMode="auto">
            <a:xfrm>
              <a:off x="-1041" y="-8865"/>
              <a:ext cx="9147298" cy="102905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17461"/>
                <a:gd name="connsiteY0" fmla="*/ 726087 h 4303631"/>
                <a:gd name="connsiteX1" fmla="*/ 21716773 w 21717461"/>
                <a:gd name="connsiteY1" fmla="*/ 54 h 4303631"/>
                <a:gd name="connsiteX2" fmla="*/ 21716773 w 21717461"/>
                <a:gd name="connsiteY2" fmla="*/ 3144336 h 4303631"/>
                <a:gd name="connsiteX3" fmla="*/ 20922482 w 21717461"/>
                <a:gd name="connsiteY3" fmla="*/ 3529321 h 4303631"/>
                <a:gd name="connsiteX4" fmla="*/ 4242445 w 21717461"/>
                <a:gd name="connsiteY4" fmla="*/ 3505153 h 4303631"/>
                <a:gd name="connsiteX5" fmla="*/ 3099243 w 21717461"/>
                <a:gd name="connsiteY5" fmla="*/ 4303631 h 4303631"/>
                <a:gd name="connsiteX6" fmla="*/ 1924889 w 21717461"/>
                <a:gd name="connsiteY6" fmla="*/ 3505153 h 4303631"/>
                <a:gd name="connsiteX7" fmla="*/ 22601 w 21717461"/>
                <a:gd name="connsiteY7" fmla="*/ 3505153 h 4303631"/>
                <a:gd name="connsiteX8" fmla="*/ 0 w 21717461"/>
                <a:gd name="connsiteY8" fmla="*/ 726087 h 4303631"/>
                <a:gd name="connsiteX0" fmla="*/ 0 w 21694863"/>
                <a:gd name="connsiteY0" fmla="*/ 258723 h 4303719"/>
                <a:gd name="connsiteX1" fmla="*/ 21694175 w 21694863"/>
                <a:gd name="connsiteY1" fmla="*/ 142 h 4303719"/>
                <a:gd name="connsiteX2" fmla="*/ 21694175 w 21694863"/>
                <a:gd name="connsiteY2" fmla="*/ 3144424 h 4303719"/>
                <a:gd name="connsiteX3" fmla="*/ 20899884 w 21694863"/>
                <a:gd name="connsiteY3" fmla="*/ 3529409 h 4303719"/>
                <a:gd name="connsiteX4" fmla="*/ 4219847 w 21694863"/>
                <a:gd name="connsiteY4" fmla="*/ 3505241 h 4303719"/>
                <a:gd name="connsiteX5" fmla="*/ 3076645 w 21694863"/>
                <a:gd name="connsiteY5" fmla="*/ 4303719 h 4303719"/>
                <a:gd name="connsiteX6" fmla="*/ 1902291 w 21694863"/>
                <a:gd name="connsiteY6" fmla="*/ 3505241 h 4303719"/>
                <a:gd name="connsiteX7" fmla="*/ 3 w 21694863"/>
                <a:gd name="connsiteY7" fmla="*/ 3505241 h 4303719"/>
                <a:gd name="connsiteX8" fmla="*/ 0 w 21694863"/>
                <a:gd name="connsiteY8" fmla="*/ 258723 h 4303719"/>
                <a:gd name="connsiteX0" fmla="*/ 0 w 21716780"/>
                <a:gd name="connsiteY0" fmla="*/ 0 h 4044996"/>
                <a:gd name="connsiteX1" fmla="*/ 21716773 w 21716780"/>
                <a:gd name="connsiteY1" fmla="*/ 816560 h 4044996"/>
                <a:gd name="connsiteX2" fmla="*/ 21694175 w 21716780"/>
                <a:gd name="connsiteY2" fmla="*/ 2885701 h 4044996"/>
                <a:gd name="connsiteX3" fmla="*/ 20899884 w 21716780"/>
                <a:gd name="connsiteY3" fmla="*/ 3270686 h 4044996"/>
                <a:gd name="connsiteX4" fmla="*/ 4219847 w 21716780"/>
                <a:gd name="connsiteY4" fmla="*/ 3246518 h 4044996"/>
                <a:gd name="connsiteX5" fmla="*/ 3076645 w 21716780"/>
                <a:gd name="connsiteY5" fmla="*/ 4044996 h 4044996"/>
                <a:gd name="connsiteX6" fmla="*/ 1902291 w 21716780"/>
                <a:gd name="connsiteY6" fmla="*/ 3246518 h 4044996"/>
                <a:gd name="connsiteX7" fmla="*/ 3 w 21716780"/>
                <a:gd name="connsiteY7" fmla="*/ 3246518 h 4044996"/>
                <a:gd name="connsiteX8" fmla="*/ 0 w 21716780"/>
                <a:gd name="connsiteY8" fmla="*/ 0 h 4044996"/>
                <a:gd name="connsiteX0" fmla="*/ 0 w 21716780"/>
                <a:gd name="connsiteY0" fmla="*/ 0 h 4044996"/>
                <a:gd name="connsiteX1" fmla="*/ 21716773 w 21716780"/>
                <a:gd name="connsiteY1" fmla="*/ 45263 h 4044996"/>
                <a:gd name="connsiteX2" fmla="*/ 21694175 w 21716780"/>
                <a:gd name="connsiteY2" fmla="*/ 2885701 h 4044996"/>
                <a:gd name="connsiteX3" fmla="*/ 20899884 w 21716780"/>
                <a:gd name="connsiteY3" fmla="*/ 3270686 h 4044996"/>
                <a:gd name="connsiteX4" fmla="*/ 4219847 w 21716780"/>
                <a:gd name="connsiteY4" fmla="*/ 3246518 h 4044996"/>
                <a:gd name="connsiteX5" fmla="*/ 3076645 w 21716780"/>
                <a:gd name="connsiteY5" fmla="*/ 4044996 h 4044996"/>
                <a:gd name="connsiteX6" fmla="*/ 1902291 w 21716780"/>
                <a:gd name="connsiteY6" fmla="*/ 3246518 h 4044996"/>
                <a:gd name="connsiteX7" fmla="*/ 3 w 21716780"/>
                <a:gd name="connsiteY7" fmla="*/ 3246518 h 4044996"/>
                <a:gd name="connsiteX8" fmla="*/ 0 w 21716780"/>
                <a:gd name="connsiteY8" fmla="*/ 0 h 4044996"/>
                <a:gd name="connsiteX0" fmla="*/ 0 w 21699862"/>
                <a:gd name="connsiteY0" fmla="*/ 0 h 4044996"/>
                <a:gd name="connsiteX1" fmla="*/ 21699824 w 21699862"/>
                <a:gd name="connsiteY1" fmla="*/ 33578 h 4044996"/>
                <a:gd name="connsiteX2" fmla="*/ 21694175 w 21699862"/>
                <a:gd name="connsiteY2" fmla="*/ 2885701 h 4044996"/>
                <a:gd name="connsiteX3" fmla="*/ 20899884 w 21699862"/>
                <a:gd name="connsiteY3" fmla="*/ 3270686 h 4044996"/>
                <a:gd name="connsiteX4" fmla="*/ 4219847 w 21699862"/>
                <a:gd name="connsiteY4" fmla="*/ 3246518 h 4044996"/>
                <a:gd name="connsiteX5" fmla="*/ 3076645 w 21699862"/>
                <a:gd name="connsiteY5" fmla="*/ 4044996 h 4044996"/>
                <a:gd name="connsiteX6" fmla="*/ 1902291 w 21699862"/>
                <a:gd name="connsiteY6" fmla="*/ 3246518 h 4044996"/>
                <a:gd name="connsiteX7" fmla="*/ 3 w 21699862"/>
                <a:gd name="connsiteY7" fmla="*/ 3246518 h 4044996"/>
                <a:gd name="connsiteX8" fmla="*/ 0 w 21699862"/>
                <a:gd name="connsiteY8" fmla="*/ 0 h 4044996"/>
                <a:gd name="connsiteX0" fmla="*/ 0 w 21699862"/>
                <a:gd name="connsiteY0" fmla="*/ 0 h 4044996"/>
                <a:gd name="connsiteX1" fmla="*/ 21699824 w 21699862"/>
                <a:gd name="connsiteY1" fmla="*/ 33578 h 4044996"/>
                <a:gd name="connsiteX2" fmla="*/ 21694175 w 21699862"/>
                <a:gd name="connsiteY2" fmla="*/ 2885701 h 4044996"/>
                <a:gd name="connsiteX3" fmla="*/ 20899884 w 21699862"/>
                <a:gd name="connsiteY3" fmla="*/ 3270686 h 4044996"/>
                <a:gd name="connsiteX4" fmla="*/ 4219847 w 21699862"/>
                <a:gd name="connsiteY4" fmla="*/ 3246518 h 4044996"/>
                <a:gd name="connsiteX5" fmla="*/ 3076645 w 21699862"/>
                <a:gd name="connsiteY5" fmla="*/ 4044996 h 4044996"/>
                <a:gd name="connsiteX6" fmla="*/ 1902291 w 21699862"/>
                <a:gd name="connsiteY6" fmla="*/ 3246518 h 4044996"/>
                <a:gd name="connsiteX7" fmla="*/ 1034633 w 21699862"/>
                <a:gd name="connsiteY7" fmla="*/ 3253993 h 4044996"/>
                <a:gd name="connsiteX8" fmla="*/ 3 w 21699862"/>
                <a:gd name="connsiteY8" fmla="*/ 3246518 h 4044996"/>
                <a:gd name="connsiteX9" fmla="*/ 0 w 21699862"/>
                <a:gd name="connsiteY9" fmla="*/ 0 h 4044996"/>
                <a:gd name="connsiteX0" fmla="*/ 0 w 21699862"/>
                <a:gd name="connsiteY0" fmla="*/ 22627 h 4067623"/>
                <a:gd name="connsiteX1" fmla="*/ 1034633 w 21699862"/>
                <a:gd name="connsiteY1" fmla="*/ 0 h 4067623"/>
                <a:gd name="connsiteX2" fmla="*/ 21699824 w 21699862"/>
                <a:gd name="connsiteY2" fmla="*/ 56205 h 4067623"/>
                <a:gd name="connsiteX3" fmla="*/ 21694175 w 21699862"/>
                <a:gd name="connsiteY3" fmla="*/ 2908328 h 4067623"/>
                <a:gd name="connsiteX4" fmla="*/ 20899884 w 21699862"/>
                <a:gd name="connsiteY4" fmla="*/ 3293313 h 4067623"/>
                <a:gd name="connsiteX5" fmla="*/ 4219847 w 21699862"/>
                <a:gd name="connsiteY5" fmla="*/ 3269145 h 4067623"/>
                <a:gd name="connsiteX6" fmla="*/ 3076645 w 21699862"/>
                <a:gd name="connsiteY6" fmla="*/ 4067623 h 4067623"/>
                <a:gd name="connsiteX7" fmla="*/ 1902291 w 21699862"/>
                <a:gd name="connsiteY7" fmla="*/ 3269145 h 4067623"/>
                <a:gd name="connsiteX8" fmla="*/ 1034633 w 21699862"/>
                <a:gd name="connsiteY8" fmla="*/ 3276620 h 4067623"/>
                <a:gd name="connsiteX9" fmla="*/ 3 w 21699862"/>
                <a:gd name="connsiteY9" fmla="*/ 3269145 h 4067623"/>
                <a:gd name="connsiteX10" fmla="*/ 0 w 21699862"/>
                <a:gd name="connsiteY10" fmla="*/ 22627 h 4067623"/>
                <a:gd name="connsiteX0" fmla="*/ 893057 w 22592916"/>
                <a:gd name="connsiteY0" fmla="*/ 3269145 h 4067623"/>
                <a:gd name="connsiteX1" fmla="*/ 1927687 w 22592916"/>
                <a:gd name="connsiteY1" fmla="*/ 0 h 4067623"/>
                <a:gd name="connsiteX2" fmla="*/ 22592878 w 22592916"/>
                <a:gd name="connsiteY2" fmla="*/ 56205 h 4067623"/>
                <a:gd name="connsiteX3" fmla="*/ 22587229 w 22592916"/>
                <a:gd name="connsiteY3" fmla="*/ 2908328 h 4067623"/>
                <a:gd name="connsiteX4" fmla="*/ 21792938 w 22592916"/>
                <a:gd name="connsiteY4" fmla="*/ 3293313 h 4067623"/>
                <a:gd name="connsiteX5" fmla="*/ 5112901 w 22592916"/>
                <a:gd name="connsiteY5" fmla="*/ 3269145 h 4067623"/>
                <a:gd name="connsiteX6" fmla="*/ 3969699 w 22592916"/>
                <a:gd name="connsiteY6" fmla="*/ 4067623 h 4067623"/>
                <a:gd name="connsiteX7" fmla="*/ 2795345 w 22592916"/>
                <a:gd name="connsiteY7" fmla="*/ 3269145 h 4067623"/>
                <a:gd name="connsiteX8" fmla="*/ 1927687 w 22592916"/>
                <a:gd name="connsiteY8" fmla="*/ 3276620 h 4067623"/>
                <a:gd name="connsiteX9" fmla="*/ 893057 w 22592916"/>
                <a:gd name="connsiteY9" fmla="*/ 3269145 h 4067623"/>
                <a:gd name="connsiteX0" fmla="*/ 0 w 20665229"/>
                <a:gd name="connsiteY0" fmla="*/ 3276620 h 4067623"/>
                <a:gd name="connsiteX1" fmla="*/ 0 w 20665229"/>
                <a:gd name="connsiteY1" fmla="*/ 0 h 4067623"/>
                <a:gd name="connsiteX2" fmla="*/ 20665191 w 20665229"/>
                <a:gd name="connsiteY2" fmla="*/ 56205 h 4067623"/>
                <a:gd name="connsiteX3" fmla="*/ 20659542 w 20665229"/>
                <a:gd name="connsiteY3" fmla="*/ 2908328 h 4067623"/>
                <a:gd name="connsiteX4" fmla="*/ 19865251 w 20665229"/>
                <a:gd name="connsiteY4" fmla="*/ 3293313 h 4067623"/>
                <a:gd name="connsiteX5" fmla="*/ 3185214 w 20665229"/>
                <a:gd name="connsiteY5" fmla="*/ 3269145 h 4067623"/>
                <a:gd name="connsiteX6" fmla="*/ 2042012 w 20665229"/>
                <a:gd name="connsiteY6" fmla="*/ 4067623 h 4067623"/>
                <a:gd name="connsiteX7" fmla="*/ 867658 w 20665229"/>
                <a:gd name="connsiteY7" fmla="*/ 3269145 h 4067623"/>
                <a:gd name="connsiteX8" fmla="*/ 0 w 20665229"/>
                <a:gd name="connsiteY8" fmla="*/ 3276620 h 4067623"/>
                <a:gd name="connsiteX0" fmla="*/ 30487 w 20695716"/>
                <a:gd name="connsiteY0" fmla="*/ 3247694 h 4038697"/>
                <a:gd name="connsiteX1" fmla="*/ 0 w 20695716"/>
                <a:gd name="connsiteY1" fmla="*/ 0 h 4038697"/>
                <a:gd name="connsiteX2" fmla="*/ 20695678 w 20695716"/>
                <a:gd name="connsiteY2" fmla="*/ 27279 h 4038697"/>
                <a:gd name="connsiteX3" fmla="*/ 20690029 w 20695716"/>
                <a:gd name="connsiteY3" fmla="*/ 2879402 h 4038697"/>
                <a:gd name="connsiteX4" fmla="*/ 19895738 w 20695716"/>
                <a:gd name="connsiteY4" fmla="*/ 3264387 h 4038697"/>
                <a:gd name="connsiteX5" fmla="*/ 3215701 w 20695716"/>
                <a:gd name="connsiteY5" fmla="*/ 3240219 h 4038697"/>
                <a:gd name="connsiteX6" fmla="*/ 2072499 w 20695716"/>
                <a:gd name="connsiteY6" fmla="*/ 4038697 h 4038697"/>
                <a:gd name="connsiteX7" fmla="*/ 898145 w 20695716"/>
                <a:gd name="connsiteY7" fmla="*/ 3240219 h 4038697"/>
                <a:gd name="connsiteX8" fmla="*/ 30487 w 20695716"/>
                <a:gd name="connsiteY8" fmla="*/ 3247694 h 4038697"/>
                <a:gd name="connsiteX0" fmla="*/ 7622 w 20695716"/>
                <a:gd name="connsiteY0" fmla="*/ 3231165 h 4038697"/>
                <a:gd name="connsiteX1" fmla="*/ 0 w 20695716"/>
                <a:gd name="connsiteY1" fmla="*/ 0 h 4038697"/>
                <a:gd name="connsiteX2" fmla="*/ 20695678 w 20695716"/>
                <a:gd name="connsiteY2" fmla="*/ 27279 h 4038697"/>
                <a:gd name="connsiteX3" fmla="*/ 20690029 w 20695716"/>
                <a:gd name="connsiteY3" fmla="*/ 2879402 h 4038697"/>
                <a:gd name="connsiteX4" fmla="*/ 19895738 w 20695716"/>
                <a:gd name="connsiteY4" fmla="*/ 3264387 h 4038697"/>
                <a:gd name="connsiteX5" fmla="*/ 3215701 w 20695716"/>
                <a:gd name="connsiteY5" fmla="*/ 3240219 h 4038697"/>
                <a:gd name="connsiteX6" fmla="*/ 2072499 w 20695716"/>
                <a:gd name="connsiteY6" fmla="*/ 4038697 h 4038697"/>
                <a:gd name="connsiteX7" fmla="*/ 898145 w 20695716"/>
                <a:gd name="connsiteY7" fmla="*/ 3240219 h 4038697"/>
                <a:gd name="connsiteX8" fmla="*/ 7622 w 20695716"/>
                <a:gd name="connsiteY8" fmla="*/ 3231165 h 4038697"/>
                <a:gd name="connsiteX0" fmla="*/ 7622 w 26846280"/>
                <a:gd name="connsiteY0" fmla="*/ 3231165 h 4038697"/>
                <a:gd name="connsiteX1" fmla="*/ 0 w 26846280"/>
                <a:gd name="connsiteY1" fmla="*/ 0 h 4038697"/>
                <a:gd name="connsiteX2" fmla="*/ 26846280 w 26846280"/>
                <a:gd name="connsiteY2" fmla="*/ 849000 h 4038697"/>
                <a:gd name="connsiteX3" fmla="*/ 20690029 w 26846280"/>
                <a:gd name="connsiteY3" fmla="*/ 2879402 h 4038697"/>
                <a:gd name="connsiteX4" fmla="*/ 19895738 w 26846280"/>
                <a:gd name="connsiteY4" fmla="*/ 3264387 h 4038697"/>
                <a:gd name="connsiteX5" fmla="*/ 3215701 w 26846280"/>
                <a:gd name="connsiteY5" fmla="*/ 3240219 h 4038697"/>
                <a:gd name="connsiteX6" fmla="*/ 2072499 w 26846280"/>
                <a:gd name="connsiteY6" fmla="*/ 4038697 h 4038697"/>
                <a:gd name="connsiteX7" fmla="*/ 898145 w 26846280"/>
                <a:gd name="connsiteY7" fmla="*/ 3240219 h 4038697"/>
                <a:gd name="connsiteX8" fmla="*/ 7622 w 26846280"/>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19895738 w 26879142"/>
                <a:gd name="connsiteY4" fmla="*/ 3264387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25989843 w 26879142"/>
                <a:gd name="connsiteY4" fmla="*/ 3195730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25989843 w 26879142"/>
                <a:gd name="connsiteY4" fmla="*/ 3195730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83264"/>
                <a:gd name="connsiteY0" fmla="*/ 3231165 h 4038697"/>
                <a:gd name="connsiteX1" fmla="*/ 0 w 26883264"/>
                <a:gd name="connsiteY1" fmla="*/ 0 h 4038697"/>
                <a:gd name="connsiteX2" fmla="*/ 26883213 w 26883264"/>
                <a:gd name="connsiteY2" fmla="*/ 797512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6 w 26875648"/>
                <a:gd name="connsiteY0" fmla="*/ 2733417 h 3540949"/>
                <a:gd name="connsiteX1" fmla="*/ 889350 w 26875648"/>
                <a:gd name="connsiteY1" fmla="*/ 0 h 3540949"/>
                <a:gd name="connsiteX2" fmla="*/ 26875597 w 26875648"/>
                <a:gd name="connsiteY2" fmla="*/ 288323 h 3540949"/>
                <a:gd name="connsiteX3" fmla="*/ 26871492 w 26875648"/>
                <a:gd name="connsiteY3" fmla="*/ 1649339 h 3540949"/>
                <a:gd name="connsiteX4" fmla="*/ 25496808 w 26875648"/>
                <a:gd name="connsiteY4" fmla="*/ 2692262 h 3540949"/>
                <a:gd name="connsiteX5" fmla="*/ 3208085 w 26875648"/>
                <a:gd name="connsiteY5" fmla="*/ 2742471 h 3540949"/>
                <a:gd name="connsiteX6" fmla="*/ 2064883 w 26875648"/>
                <a:gd name="connsiteY6" fmla="*/ 3540949 h 3540949"/>
                <a:gd name="connsiteX7" fmla="*/ 890529 w 26875648"/>
                <a:gd name="connsiteY7" fmla="*/ 2742471 h 3540949"/>
                <a:gd name="connsiteX8" fmla="*/ 6 w 26875648"/>
                <a:gd name="connsiteY8" fmla="*/ 2733417 h 3540949"/>
                <a:gd name="connsiteX0" fmla="*/ 6 w 26875648"/>
                <a:gd name="connsiteY0" fmla="*/ 2445094 h 3252626"/>
                <a:gd name="connsiteX1" fmla="*/ 894628 w 26875648"/>
                <a:gd name="connsiteY1" fmla="*/ 49230 h 3252626"/>
                <a:gd name="connsiteX2" fmla="*/ 26875597 w 26875648"/>
                <a:gd name="connsiteY2" fmla="*/ 0 h 3252626"/>
                <a:gd name="connsiteX3" fmla="*/ 26871492 w 26875648"/>
                <a:gd name="connsiteY3" fmla="*/ 1361016 h 3252626"/>
                <a:gd name="connsiteX4" fmla="*/ 25496808 w 26875648"/>
                <a:gd name="connsiteY4" fmla="*/ 2403939 h 3252626"/>
                <a:gd name="connsiteX5" fmla="*/ 3208085 w 26875648"/>
                <a:gd name="connsiteY5" fmla="*/ 2454148 h 3252626"/>
                <a:gd name="connsiteX6" fmla="*/ 2064883 w 26875648"/>
                <a:gd name="connsiteY6" fmla="*/ 3252626 h 3252626"/>
                <a:gd name="connsiteX7" fmla="*/ 890529 w 26875648"/>
                <a:gd name="connsiteY7" fmla="*/ 2454148 h 3252626"/>
                <a:gd name="connsiteX8" fmla="*/ 6 w 26875648"/>
                <a:gd name="connsiteY8" fmla="*/ 2445094 h 3252626"/>
                <a:gd name="connsiteX0" fmla="*/ 6 w 26875648"/>
                <a:gd name="connsiteY0" fmla="*/ 2447355 h 3254887"/>
                <a:gd name="connsiteX1" fmla="*/ 968498 w 26875648"/>
                <a:gd name="connsiteY1" fmla="*/ 0 h 3254887"/>
                <a:gd name="connsiteX2" fmla="*/ 26875597 w 26875648"/>
                <a:gd name="connsiteY2" fmla="*/ 2261 h 3254887"/>
                <a:gd name="connsiteX3" fmla="*/ 26871492 w 26875648"/>
                <a:gd name="connsiteY3" fmla="*/ 1363277 h 3254887"/>
                <a:gd name="connsiteX4" fmla="*/ 25496808 w 26875648"/>
                <a:gd name="connsiteY4" fmla="*/ 2406200 h 3254887"/>
                <a:gd name="connsiteX5" fmla="*/ 3208085 w 26875648"/>
                <a:gd name="connsiteY5" fmla="*/ 2456409 h 3254887"/>
                <a:gd name="connsiteX6" fmla="*/ 2064883 w 26875648"/>
                <a:gd name="connsiteY6" fmla="*/ 3254887 h 3254887"/>
                <a:gd name="connsiteX7" fmla="*/ 890529 w 26875648"/>
                <a:gd name="connsiteY7" fmla="*/ 2456409 h 3254887"/>
                <a:gd name="connsiteX8" fmla="*/ 6 w 26875648"/>
                <a:gd name="connsiteY8" fmla="*/ 2447355 h 3254887"/>
                <a:gd name="connsiteX0" fmla="*/ 6 w 26875648"/>
                <a:gd name="connsiteY0" fmla="*/ 2447355 h 3254887"/>
                <a:gd name="connsiteX1" fmla="*/ 968498 w 26875648"/>
                <a:gd name="connsiteY1" fmla="*/ 0 h 3254887"/>
                <a:gd name="connsiteX2" fmla="*/ 26875597 w 26875648"/>
                <a:gd name="connsiteY2" fmla="*/ 2261 h 3254887"/>
                <a:gd name="connsiteX3" fmla="*/ 26871492 w 26875648"/>
                <a:gd name="connsiteY3" fmla="*/ 1363277 h 3254887"/>
                <a:gd name="connsiteX4" fmla="*/ 25496808 w 26875648"/>
                <a:gd name="connsiteY4" fmla="*/ 2406200 h 3254887"/>
                <a:gd name="connsiteX5" fmla="*/ 3208085 w 26875648"/>
                <a:gd name="connsiteY5" fmla="*/ 2456409 h 3254887"/>
                <a:gd name="connsiteX6" fmla="*/ 2064883 w 26875648"/>
                <a:gd name="connsiteY6" fmla="*/ 3254887 h 3254887"/>
                <a:gd name="connsiteX7" fmla="*/ 890529 w 26875648"/>
                <a:gd name="connsiteY7" fmla="*/ 2456411 h 3254887"/>
                <a:gd name="connsiteX8" fmla="*/ 6 w 26875648"/>
                <a:gd name="connsiteY8" fmla="*/ 2447355 h 3254887"/>
                <a:gd name="connsiteX0" fmla="*/ 0 w 25985119"/>
                <a:gd name="connsiteY0" fmla="*/ 2456411 h 3254887"/>
                <a:gd name="connsiteX1" fmla="*/ 77969 w 25985119"/>
                <a:gd name="connsiteY1" fmla="*/ 0 h 3254887"/>
                <a:gd name="connsiteX2" fmla="*/ 25985068 w 25985119"/>
                <a:gd name="connsiteY2" fmla="*/ 2261 h 3254887"/>
                <a:gd name="connsiteX3" fmla="*/ 25980963 w 25985119"/>
                <a:gd name="connsiteY3" fmla="*/ 1363277 h 3254887"/>
                <a:gd name="connsiteX4" fmla="*/ 24606279 w 25985119"/>
                <a:gd name="connsiteY4" fmla="*/ 2406200 h 3254887"/>
                <a:gd name="connsiteX5" fmla="*/ 2317556 w 25985119"/>
                <a:gd name="connsiteY5" fmla="*/ 2456409 h 3254887"/>
                <a:gd name="connsiteX6" fmla="*/ 1174354 w 25985119"/>
                <a:gd name="connsiteY6" fmla="*/ 3254887 h 3254887"/>
                <a:gd name="connsiteX7" fmla="*/ 0 w 25985119"/>
                <a:gd name="connsiteY7" fmla="*/ 2456411 h 3254887"/>
                <a:gd name="connsiteX0" fmla="*/ 17005 w 25907150"/>
                <a:gd name="connsiteY0" fmla="*/ 2427806 h 3254887"/>
                <a:gd name="connsiteX1" fmla="*/ 0 w 25907150"/>
                <a:gd name="connsiteY1" fmla="*/ 0 h 3254887"/>
                <a:gd name="connsiteX2" fmla="*/ 25907099 w 25907150"/>
                <a:gd name="connsiteY2" fmla="*/ 2261 h 3254887"/>
                <a:gd name="connsiteX3" fmla="*/ 25902994 w 25907150"/>
                <a:gd name="connsiteY3" fmla="*/ 1363277 h 3254887"/>
                <a:gd name="connsiteX4" fmla="*/ 24528310 w 25907150"/>
                <a:gd name="connsiteY4" fmla="*/ 2406200 h 3254887"/>
                <a:gd name="connsiteX5" fmla="*/ 2239587 w 25907150"/>
                <a:gd name="connsiteY5" fmla="*/ 2456409 h 3254887"/>
                <a:gd name="connsiteX6" fmla="*/ 1096385 w 25907150"/>
                <a:gd name="connsiteY6" fmla="*/ 3254887 h 3254887"/>
                <a:gd name="connsiteX7" fmla="*/ 17005 w 25907150"/>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09 h 3254887"/>
                <a:gd name="connsiteX6" fmla="*/ 1100487 w 25911252"/>
                <a:gd name="connsiteY6" fmla="*/ 3254887 h 3254887"/>
                <a:gd name="connsiteX7" fmla="*/ 0 w 25911252"/>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11 h 3254887"/>
                <a:gd name="connsiteX6" fmla="*/ 1100487 w 25911252"/>
                <a:gd name="connsiteY6" fmla="*/ 3254887 h 3254887"/>
                <a:gd name="connsiteX7" fmla="*/ 0 w 25911252"/>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11 h 3254887"/>
                <a:gd name="connsiteX6" fmla="*/ 1100487 w 25911252"/>
                <a:gd name="connsiteY6" fmla="*/ 3254887 h 3254887"/>
                <a:gd name="connsiteX7" fmla="*/ 0 w 25911252"/>
                <a:gd name="connsiteY7" fmla="*/ 2427806 h 3254887"/>
                <a:gd name="connsiteX0" fmla="*/ 0 w 25915879"/>
                <a:gd name="connsiteY0" fmla="*/ 2447870 h 3254887"/>
                <a:gd name="connsiteX1" fmla="*/ 8729 w 25915879"/>
                <a:gd name="connsiteY1" fmla="*/ 0 h 3254887"/>
                <a:gd name="connsiteX2" fmla="*/ 25915828 w 25915879"/>
                <a:gd name="connsiteY2" fmla="*/ 2261 h 3254887"/>
                <a:gd name="connsiteX3" fmla="*/ 25911723 w 25915879"/>
                <a:gd name="connsiteY3" fmla="*/ 1363277 h 3254887"/>
                <a:gd name="connsiteX4" fmla="*/ 24537039 w 25915879"/>
                <a:gd name="connsiteY4" fmla="*/ 2406200 h 3254887"/>
                <a:gd name="connsiteX5" fmla="*/ 2248316 w 25915879"/>
                <a:gd name="connsiteY5" fmla="*/ 2456411 h 3254887"/>
                <a:gd name="connsiteX6" fmla="*/ 1105114 w 25915879"/>
                <a:gd name="connsiteY6" fmla="*/ 3254887 h 3254887"/>
                <a:gd name="connsiteX7" fmla="*/ 0 w 25915879"/>
                <a:gd name="connsiteY7" fmla="*/ 2447870 h 3254887"/>
                <a:gd name="connsiteX0" fmla="*/ 0 w 25915879"/>
                <a:gd name="connsiteY0" fmla="*/ 2447870 h 3254887"/>
                <a:gd name="connsiteX1" fmla="*/ 8729 w 25915879"/>
                <a:gd name="connsiteY1" fmla="*/ 0 h 3254887"/>
                <a:gd name="connsiteX2" fmla="*/ 25915828 w 25915879"/>
                <a:gd name="connsiteY2" fmla="*/ 2261 h 3254887"/>
                <a:gd name="connsiteX3" fmla="*/ 25911723 w 25915879"/>
                <a:gd name="connsiteY3" fmla="*/ 1363277 h 3254887"/>
                <a:gd name="connsiteX4" fmla="*/ 24537039 w 25915879"/>
                <a:gd name="connsiteY4" fmla="*/ 2406200 h 3254887"/>
                <a:gd name="connsiteX5" fmla="*/ 2248316 w 25915879"/>
                <a:gd name="connsiteY5" fmla="*/ 2456411 h 3254887"/>
                <a:gd name="connsiteX6" fmla="*/ 1105114 w 25915879"/>
                <a:gd name="connsiteY6" fmla="*/ 3254887 h 3254887"/>
                <a:gd name="connsiteX7" fmla="*/ 0 w 25915879"/>
                <a:gd name="connsiteY7" fmla="*/ 2447870 h 3254887"/>
                <a:gd name="connsiteX0" fmla="*/ 0 w 25915879"/>
                <a:gd name="connsiteY0" fmla="*/ 2447870 h 3169172"/>
                <a:gd name="connsiteX1" fmla="*/ 8729 w 25915879"/>
                <a:gd name="connsiteY1" fmla="*/ 0 h 3169172"/>
                <a:gd name="connsiteX2" fmla="*/ 25915828 w 25915879"/>
                <a:gd name="connsiteY2" fmla="*/ 2261 h 3169172"/>
                <a:gd name="connsiteX3" fmla="*/ 25911723 w 25915879"/>
                <a:gd name="connsiteY3" fmla="*/ 1363277 h 3169172"/>
                <a:gd name="connsiteX4" fmla="*/ 24537039 w 25915879"/>
                <a:gd name="connsiteY4" fmla="*/ 2406200 h 3169172"/>
                <a:gd name="connsiteX5" fmla="*/ 2248316 w 25915879"/>
                <a:gd name="connsiteY5" fmla="*/ 2456411 h 3169172"/>
                <a:gd name="connsiteX6" fmla="*/ 1105113 w 25915879"/>
                <a:gd name="connsiteY6" fmla="*/ 3169172 h 3169172"/>
                <a:gd name="connsiteX7" fmla="*/ 0 w 25915879"/>
                <a:gd name="connsiteY7" fmla="*/ 2447870 h 3169172"/>
                <a:gd name="connsiteX0" fmla="*/ 0 w 25915879"/>
                <a:gd name="connsiteY0" fmla="*/ 2447870 h 3169172"/>
                <a:gd name="connsiteX1" fmla="*/ 8729 w 25915879"/>
                <a:gd name="connsiteY1" fmla="*/ 0 h 3169172"/>
                <a:gd name="connsiteX2" fmla="*/ 25915828 w 25915879"/>
                <a:gd name="connsiteY2" fmla="*/ 2261 h 3169172"/>
                <a:gd name="connsiteX3" fmla="*/ 25911723 w 25915879"/>
                <a:gd name="connsiteY3" fmla="*/ 1363277 h 3169172"/>
                <a:gd name="connsiteX4" fmla="*/ 24537039 w 25915879"/>
                <a:gd name="connsiteY4" fmla="*/ 2406200 h 3169172"/>
                <a:gd name="connsiteX5" fmla="*/ 2248316 w 25915879"/>
                <a:gd name="connsiteY5" fmla="*/ 2456411 h 3169172"/>
                <a:gd name="connsiteX6" fmla="*/ 1137451 w 25915879"/>
                <a:gd name="connsiteY6" fmla="*/ 3169172 h 3169172"/>
                <a:gd name="connsiteX7" fmla="*/ 0 w 25915879"/>
                <a:gd name="connsiteY7" fmla="*/ 2447870 h 3169172"/>
                <a:gd name="connsiteX0" fmla="*/ 0 w 25915879"/>
                <a:gd name="connsiteY0" fmla="*/ 2447870 h 3021118"/>
                <a:gd name="connsiteX1" fmla="*/ 8729 w 25915879"/>
                <a:gd name="connsiteY1" fmla="*/ 0 h 3021118"/>
                <a:gd name="connsiteX2" fmla="*/ 25915828 w 25915879"/>
                <a:gd name="connsiteY2" fmla="*/ 2261 h 3021118"/>
                <a:gd name="connsiteX3" fmla="*/ 25911723 w 25915879"/>
                <a:gd name="connsiteY3" fmla="*/ 1363277 h 3021118"/>
                <a:gd name="connsiteX4" fmla="*/ 24537039 w 25915879"/>
                <a:gd name="connsiteY4" fmla="*/ 2406200 h 3021118"/>
                <a:gd name="connsiteX5" fmla="*/ 2248316 w 25915879"/>
                <a:gd name="connsiteY5" fmla="*/ 2456411 h 3021118"/>
                <a:gd name="connsiteX6" fmla="*/ 1133859 w 25915879"/>
                <a:gd name="connsiteY6" fmla="*/ 3021118 h 3021118"/>
                <a:gd name="connsiteX7" fmla="*/ 0 w 25915879"/>
                <a:gd name="connsiteY7" fmla="*/ 2447870 h 3021118"/>
                <a:gd name="connsiteX0" fmla="*/ 0 w 25915879"/>
                <a:gd name="connsiteY0" fmla="*/ 2447870 h 3138002"/>
                <a:gd name="connsiteX1" fmla="*/ 8729 w 25915879"/>
                <a:gd name="connsiteY1" fmla="*/ 0 h 3138002"/>
                <a:gd name="connsiteX2" fmla="*/ 25915828 w 25915879"/>
                <a:gd name="connsiteY2" fmla="*/ 2261 h 3138002"/>
                <a:gd name="connsiteX3" fmla="*/ 25911723 w 25915879"/>
                <a:gd name="connsiteY3" fmla="*/ 1363277 h 3138002"/>
                <a:gd name="connsiteX4" fmla="*/ 24537039 w 25915879"/>
                <a:gd name="connsiteY4" fmla="*/ 2406200 h 3138002"/>
                <a:gd name="connsiteX5" fmla="*/ 2248316 w 25915879"/>
                <a:gd name="connsiteY5" fmla="*/ 2456411 h 3138002"/>
                <a:gd name="connsiteX6" fmla="*/ 1141043 w 25915879"/>
                <a:gd name="connsiteY6" fmla="*/ 3138002 h 3138002"/>
                <a:gd name="connsiteX7" fmla="*/ 0 w 25915879"/>
                <a:gd name="connsiteY7" fmla="*/ 2447870 h 3138002"/>
                <a:gd name="connsiteX0" fmla="*/ 0 w 25915879"/>
                <a:gd name="connsiteY0" fmla="*/ 2447870 h 3138002"/>
                <a:gd name="connsiteX1" fmla="*/ 8729 w 25915879"/>
                <a:gd name="connsiteY1" fmla="*/ 0 h 3138002"/>
                <a:gd name="connsiteX2" fmla="*/ 25915828 w 25915879"/>
                <a:gd name="connsiteY2" fmla="*/ 2261 h 3138002"/>
                <a:gd name="connsiteX3" fmla="*/ 25911723 w 25915879"/>
                <a:gd name="connsiteY3" fmla="*/ 1363277 h 3138002"/>
                <a:gd name="connsiteX4" fmla="*/ 24537039 w 25915879"/>
                <a:gd name="connsiteY4" fmla="*/ 2406200 h 3138002"/>
                <a:gd name="connsiteX5" fmla="*/ 2248316 w 25915879"/>
                <a:gd name="connsiteY5" fmla="*/ 2456411 h 3138002"/>
                <a:gd name="connsiteX6" fmla="*/ 1141043 w 25915879"/>
                <a:gd name="connsiteY6" fmla="*/ 3138002 h 3138002"/>
                <a:gd name="connsiteX7" fmla="*/ 0 w 25915879"/>
                <a:gd name="connsiteY7" fmla="*/ 2447870 h 3138002"/>
                <a:gd name="connsiteX0" fmla="*/ 0 w 25915879"/>
                <a:gd name="connsiteY0" fmla="*/ 2447870 h 3149688"/>
                <a:gd name="connsiteX1" fmla="*/ 8729 w 25915879"/>
                <a:gd name="connsiteY1" fmla="*/ 0 h 3149688"/>
                <a:gd name="connsiteX2" fmla="*/ 25915828 w 25915879"/>
                <a:gd name="connsiteY2" fmla="*/ 2261 h 3149688"/>
                <a:gd name="connsiteX3" fmla="*/ 25911723 w 25915879"/>
                <a:gd name="connsiteY3" fmla="*/ 1363277 h 3149688"/>
                <a:gd name="connsiteX4" fmla="*/ 24537039 w 25915879"/>
                <a:gd name="connsiteY4" fmla="*/ 2406200 h 3149688"/>
                <a:gd name="connsiteX5" fmla="*/ 2248316 w 25915879"/>
                <a:gd name="connsiteY5" fmla="*/ 2456411 h 3149688"/>
                <a:gd name="connsiteX6" fmla="*/ 1137451 w 25915879"/>
                <a:gd name="connsiteY6" fmla="*/ 3149688 h 3149688"/>
                <a:gd name="connsiteX7" fmla="*/ 0 w 25915879"/>
                <a:gd name="connsiteY7" fmla="*/ 2447870 h 3149688"/>
                <a:gd name="connsiteX0" fmla="*/ 0 w 25915879"/>
                <a:gd name="connsiteY0" fmla="*/ 2447870 h 3161374"/>
                <a:gd name="connsiteX1" fmla="*/ 8729 w 25915879"/>
                <a:gd name="connsiteY1" fmla="*/ 0 h 3161374"/>
                <a:gd name="connsiteX2" fmla="*/ 25915828 w 25915879"/>
                <a:gd name="connsiteY2" fmla="*/ 2261 h 3161374"/>
                <a:gd name="connsiteX3" fmla="*/ 25911723 w 25915879"/>
                <a:gd name="connsiteY3" fmla="*/ 1363277 h 3161374"/>
                <a:gd name="connsiteX4" fmla="*/ 24537039 w 25915879"/>
                <a:gd name="connsiteY4" fmla="*/ 2406200 h 3161374"/>
                <a:gd name="connsiteX5" fmla="*/ 2248316 w 25915879"/>
                <a:gd name="connsiteY5" fmla="*/ 2456411 h 3161374"/>
                <a:gd name="connsiteX6" fmla="*/ 1137451 w 25915879"/>
                <a:gd name="connsiteY6" fmla="*/ 3161374 h 3161374"/>
                <a:gd name="connsiteX7" fmla="*/ 0 w 25915879"/>
                <a:gd name="connsiteY7" fmla="*/ 2447870 h 316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15879" h="3161374">
                  <a:moveTo>
                    <a:pt x="0" y="2447870"/>
                  </a:moveTo>
                  <a:cubicBezTo>
                    <a:pt x="1367" y="1638601"/>
                    <a:pt x="7362" y="809269"/>
                    <a:pt x="8729" y="0"/>
                  </a:cubicBezTo>
                  <a:lnTo>
                    <a:pt x="25915828" y="2261"/>
                  </a:lnTo>
                  <a:cubicBezTo>
                    <a:pt x="25916341" y="69861"/>
                    <a:pt x="25912977" y="1319862"/>
                    <a:pt x="25911723" y="1363277"/>
                  </a:cubicBezTo>
                  <a:cubicBezTo>
                    <a:pt x="25915358" y="2480438"/>
                    <a:pt x="24907606" y="2405976"/>
                    <a:pt x="24537039" y="2406200"/>
                  </a:cubicBezTo>
                  <a:lnTo>
                    <a:pt x="2248316" y="2456411"/>
                  </a:lnTo>
                  <a:cubicBezTo>
                    <a:pt x="1655273" y="2466668"/>
                    <a:pt x="1329060" y="2698552"/>
                    <a:pt x="1137451" y="3161374"/>
                  </a:cubicBezTo>
                  <a:cubicBezTo>
                    <a:pt x="849876" y="2508248"/>
                    <a:pt x="329529" y="2457025"/>
                    <a:pt x="0" y="2447870"/>
                  </a:cubicBezTo>
                  <a:close/>
                </a:path>
              </a:pathLst>
            </a:custGeom>
            <a:solidFill>
              <a:schemeClr val="bg1"/>
            </a:solidFill>
            <a:ln w="12700" cmpd="sng" algn="ctr">
              <a:noFill/>
              <a:miter lim="800000"/>
              <a:headEnd/>
              <a:tailEnd/>
            </a:ln>
            <a:effectLst/>
          </p:spPr>
          <p:txBody>
            <a:bodyPr wrap="square" lIns="33059" tIns="42974" rIns="33059" bIns="42974" rtlCol="0" anchor="ctr"/>
            <a:lstStyle/>
            <a:p>
              <a:pPr algn="ctr" fontAlgn="auto">
                <a:spcBef>
                  <a:spcPts val="0"/>
                </a:spcBef>
                <a:spcAft>
                  <a:spcPts val="0"/>
                </a:spcAft>
              </a:pPr>
              <a:endParaRPr lang="en-US" sz="1333" dirty="0">
                <a:solidFill>
                  <a:schemeClr val="bg1"/>
                </a:solidFill>
                <a:latin typeface="Arial" pitchFamily="34" charset="0"/>
                <a:cs typeface="Arial" pitchFamily="34" charset="0"/>
              </a:endParaRPr>
            </a:p>
          </p:txBody>
        </p:sp>
        <p:sp>
          <p:nvSpPr>
            <p:cNvPr id="7" name="Rectangle 7"/>
            <p:cNvSpPr/>
            <p:nvPr userDrawn="1">
              <p:custDataLst>
                <p:tags r:id="rId4"/>
              </p:custDataLst>
            </p:nvPr>
          </p:nvSpPr>
          <p:spPr bwMode="auto">
            <a:xfrm>
              <a:off x="-3993" y="434757"/>
              <a:ext cx="9162288" cy="58543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17461"/>
                <a:gd name="connsiteY0" fmla="*/ 726087 h 4303631"/>
                <a:gd name="connsiteX1" fmla="*/ 21716773 w 21717461"/>
                <a:gd name="connsiteY1" fmla="*/ 54 h 4303631"/>
                <a:gd name="connsiteX2" fmla="*/ 21716773 w 21717461"/>
                <a:gd name="connsiteY2" fmla="*/ 3144336 h 4303631"/>
                <a:gd name="connsiteX3" fmla="*/ 20922482 w 21717461"/>
                <a:gd name="connsiteY3" fmla="*/ 3529321 h 4303631"/>
                <a:gd name="connsiteX4" fmla="*/ 4242445 w 21717461"/>
                <a:gd name="connsiteY4" fmla="*/ 3505153 h 4303631"/>
                <a:gd name="connsiteX5" fmla="*/ 3099243 w 21717461"/>
                <a:gd name="connsiteY5" fmla="*/ 4303631 h 4303631"/>
                <a:gd name="connsiteX6" fmla="*/ 1924889 w 21717461"/>
                <a:gd name="connsiteY6" fmla="*/ 3505153 h 4303631"/>
                <a:gd name="connsiteX7" fmla="*/ 22601 w 21717461"/>
                <a:gd name="connsiteY7" fmla="*/ 3505153 h 4303631"/>
                <a:gd name="connsiteX8" fmla="*/ 0 w 21717461"/>
                <a:gd name="connsiteY8" fmla="*/ 726087 h 4303631"/>
                <a:gd name="connsiteX0" fmla="*/ 0 w 21694863"/>
                <a:gd name="connsiteY0" fmla="*/ 258723 h 4303719"/>
                <a:gd name="connsiteX1" fmla="*/ 21694175 w 21694863"/>
                <a:gd name="connsiteY1" fmla="*/ 142 h 4303719"/>
                <a:gd name="connsiteX2" fmla="*/ 21694175 w 21694863"/>
                <a:gd name="connsiteY2" fmla="*/ 3144424 h 4303719"/>
                <a:gd name="connsiteX3" fmla="*/ 20899884 w 21694863"/>
                <a:gd name="connsiteY3" fmla="*/ 3529409 h 4303719"/>
                <a:gd name="connsiteX4" fmla="*/ 4219847 w 21694863"/>
                <a:gd name="connsiteY4" fmla="*/ 3505241 h 4303719"/>
                <a:gd name="connsiteX5" fmla="*/ 3076645 w 21694863"/>
                <a:gd name="connsiteY5" fmla="*/ 4303719 h 4303719"/>
                <a:gd name="connsiteX6" fmla="*/ 1902291 w 21694863"/>
                <a:gd name="connsiteY6" fmla="*/ 3505241 h 4303719"/>
                <a:gd name="connsiteX7" fmla="*/ 3 w 21694863"/>
                <a:gd name="connsiteY7" fmla="*/ 3505241 h 4303719"/>
                <a:gd name="connsiteX8" fmla="*/ 0 w 21694863"/>
                <a:gd name="connsiteY8" fmla="*/ 258723 h 4303719"/>
                <a:gd name="connsiteX0" fmla="*/ 0 w 21716780"/>
                <a:gd name="connsiteY0" fmla="*/ 0 h 4044996"/>
                <a:gd name="connsiteX1" fmla="*/ 21716773 w 21716780"/>
                <a:gd name="connsiteY1" fmla="*/ 816560 h 4044996"/>
                <a:gd name="connsiteX2" fmla="*/ 21694175 w 21716780"/>
                <a:gd name="connsiteY2" fmla="*/ 2885701 h 4044996"/>
                <a:gd name="connsiteX3" fmla="*/ 20899884 w 21716780"/>
                <a:gd name="connsiteY3" fmla="*/ 3270686 h 4044996"/>
                <a:gd name="connsiteX4" fmla="*/ 4219847 w 21716780"/>
                <a:gd name="connsiteY4" fmla="*/ 3246518 h 4044996"/>
                <a:gd name="connsiteX5" fmla="*/ 3076645 w 21716780"/>
                <a:gd name="connsiteY5" fmla="*/ 4044996 h 4044996"/>
                <a:gd name="connsiteX6" fmla="*/ 1902291 w 21716780"/>
                <a:gd name="connsiteY6" fmla="*/ 3246518 h 4044996"/>
                <a:gd name="connsiteX7" fmla="*/ 3 w 21716780"/>
                <a:gd name="connsiteY7" fmla="*/ 3246518 h 4044996"/>
                <a:gd name="connsiteX8" fmla="*/ 0 w 21716780"/>
                <a:gd name="connsiteY8" fmla="*/ 0 h 4044996"/>
                <a:gd name="connsiteX0" fmla="*/ 0 w 21716780"/>
                <a:gd name="connsiteY0" fmla="*/ 0 h 4044996"/>
                <a:gd name="connsiteX1" fmla="*/ 21716773 w 21716780"/>
                <a:gd name="connsiteY1" fmla="*/ 45263 h 4044996"/>
                <a:gd name="connsiteX2" fmla="*/ 21694175 w 21716780"/>
                <a:gd name="connsiteY2" fmla="*/ 2885701 h 4044996"/>
                <a:gd name="connsiteX3" fmla="*/ 20899884 w 21716780"/>
                <a:gd name="connsiteY3" fmla="*/ 3270686 h 4044996"/>
                <a:gd name="connsiteX4" fmla="*/ 4219847 w 21716780"/>
                <a:gd name="connsiteY4" fmla="*/ 3246518 h 4044996"/>
                <a:gd name="connsiteX5" fmla="*/ 3076645 w 21716780"/>
                <a:gd name="connsiteY5" fmla="*/ 4044996 h 4044996"/>
                <a:gd name="connsiteX6" fmla="*/ 1902291 w 21716780"/>
                <a:gd name="connsiteY6" fmla="*/ 3246518 h 4044996"/>
                <a:gd name="connsiteX7" fmla="*/ 3 w 21716780"/>
                <a:gd name="connsiteY7" fmla="*/ 3246518 h 4044996"/>
                <a:gd name="connsiteX8" fmla="*/ 0 w 21716780"/>
                <a:gd name="connsiteY8" fmla="*/ 0 h 4044996"/>
                <a:gd name="connsiteX0" fmla="*/ 0 w 21699862"/>
                <a:gd name="connsiteY0" fmla="*/ 0 h 4044996"/>
                <a:gd name="connsiteX1" fmla="*/ 21699824 w 21699862"/>
                <a:gd name="connsiteY1" fmla="*/ 33578 h 4044996"/>
                <a:gd name="connsiteX2" fmla="*/ 21694175 w 21699862"/>
                <a:gd name="connsiteY2" fmla="*/ 2885701 h 4044996"/>
                <a:gd name="connsiteX3" fmla="*/ 20899884 w 21699862"/>
                <a:gd name="connsiteY3" fmla="*/ 3270686 h 4044996"/>
                <a:gd name="connsiteX4" fmla="*/ 4219847 w 21699862"/>
                <a:gd name="connsiteY4" fmla="*/ 3246518 h 4044996"/>
                <a:gd name="connsiteX5" fmla="*/ 3076645 w 21699862"/>
                <a:gd name="connsiteY5" fmla="*/ 4044996 h 4044996"/>
                <a:gd name="connsiteX6" fmla="*/ 1902291 w 21699862"/>
                <a:gd name="connsiteY6" fmla="*/ 3246518 h 4044996"/>
                <a:gd name="connsiteX7" fmla="*/ 3 w 21699862"/>
                <a:gd name="connsiteY7" fmla="*/ 3246518 h 4044996"/>
                <a:gd name="connsiteX8" fmla="*/ 0 w 21699862"/>
                <a:gd name="connsiteY8" fmla="*/ 0 h 4044996"/>
                <a:gd name="connsiteX0" fmla="*/ 0 w 21699862"/>
                <a:gd name="connsiteY0" fmla="*/ 0 h 4044996"/>
                <a:gd name="connsiteX1" fmla="*/ 21699824 w 21699862"/>
                <a:gd name="connsiteY1" fmla="*/ 33578 h 4044996"/>
                <a:gd name="connsiteX2" fmla="*/ 21694175 w 21699862"/>
                <a:gd name="connsiteY2" fmla="*/ 2885701 h 4044996"/>
                <a:gd name="connsiteX3" fmla="*/ 20899884 w 21699862"/>
                <a:gd name="connsiteY3" fmla="*/ 3270686 h 4044996"/>
                <a:gd name="connsiteX4" fmla="*/ 4219847 w 21699862"/>
                <a:gd name="connsiteY4" fmla="*/ 3246518 h 4044996"/>
                <a:gd name="connsiteX5" fmla="*/ 3076645 w 21699862"/>
                <a:gd name="connsiteY5" fmla="*/ 4044996 h 4044996"/>
                <a:gd name="connsiteX6" fmla="*/ 1902291 w 21699862"/>
                <a:gd name="connsiteY6" fmla="*/ 3246518 h 4044996"/>
                <a:gd name="connsiteX7" fmla="*/ 1034633 w 21699862"/>
                <a:gd name="connsiteY7" fmla="*/ 3253993 h 4044996"/>
                <a:gd name="connsiteX8" fmla="*/ 3 w 21699862"/>
                <a:gd name="connsiteY8" fmla="*/ 3246518 h 4044996"/>
                <a:gd name="connsiteX9" fmla="*/ 0 w 21699862"/>
                <a:gd name="connsiteY9" fmla="*/ 0 h 4044996"/>
                <a:gd name="connsiteX0" fmla="*/ 0 w 21699862"/>
                <a:gd name="connsiteY0" fmla="*/ 22627 h 4067623"/>
                <a:gd name="connsiteX1" fmla="*/ 1034633 w 21699862"/>
                <a:gd name="connsiteY1" fmla="*/ 0 h 4067623"/>
                <a:gd name="connsiteX2" fmla="*/ 21699824 w 21699862"/>
                <a:gd name="connsiteY2" fmla="*/ 56205 h 4067623"/>
                <a:gd name="connsiteX3" fmla="*/ 21694175 w 21699862"/>
                <a:gd name="connsiteY3" fmla="*/ 2908328 h 4067623"/>
                <a:gd name="connsiteX4" fmla="*/ 20899884 w 21699862"/>
                <a:gd name="connsiteY4" fmla="*/ 3293313 h 4067623"/>
                <a:gd name="connsiteX5" fmla="*/ 4219847 w 21699862"/>
                <a:gd name="connsiteY5" fmla="*/ 3269145 h 4067623"/>
                <a:gd name="connsiteX6" fmla="*/ 3076645 w 21699862"/>
                <a:gd name="connsiteY6" fmla="*/ 4067623 h 4067623"/>
                <a:gd name="connsiteX7" fmla="*/ 1902291 w 21699862"/>
                <a:gd name="connsiteY7" fmla="*/ 3269145 h 4067623"/>
                <a:gd name="connsiteX8" fmla="*/ 1034633 w 21699862"/>
                <a:gd name="connsiteY8" fmla="*/ 3276620 h 4067623"/>
                <a:gd name="connsiteX9" fmla="*/ 3 w 21699862"/>
                <a:gd name="connsiteY9" fmla="*/ 3269145 h 4067623"/>
                <a:gd name="connsiteX10" fmla="*/ 0 w 21699862"/>
                <a:gd name="connsiteY10" fmla="*/ 22627 h 4067623"/>
                <a:gd name="connsiteX0" fmla="*/ 893057 w 22592916"/>
                <a:gd name="connsiteY0" fmla="*/ 3269145 h 4067623"/>
                <a:gd name="connsiteX1" fmla="*/ 1927687 w 22592916"/>
                <a:gd name="connsiteY1" fmla="*/ 0 h 4067623"/>
                <a:gd name="connsiteX2" fmla="*/ 22592878 w 22592916"/>
                <a:gd name="connsiteY2" fmla="*/ 56205 h 4067623"/>
                <a:gd name="connsiteX3" fmla="*/ 22587229 w 22592916"/>
                <a:gd name="connsiteY3" fmla="*/ 2908328 h 4067623"/>
                <a:gd name="connsiteX4" fmla="*/ 21792938 w 22592916"/>
                <a:gd name="connsiteY4" fmla="*/ 3293313 h 4067623"/>
                <a:gd name="connsiteX5" fmla="*/ 5112901 w 22592916"/>
                <a:gd name="connsiteY5" fmla="*/ 3269145 h 4067623"/>
                <a:gd name="connsiteX6" fmla="*/ 3969699 w 22592916"/>
                <a:gd name="connsiteY6" fmla="*/ 4067623 h 4067623"/>
                <a:gd name="connsiteX7" fmla="*/ 2795345 w 22592916"/>
                <a:gd name="connsiteY7" fmla="*/ 3269145 h 4067623"/>
                <a:gd name="connsiteX8" fmla="*/ 1927687 w 22592916"/>
                <a:gd name="connsiteY8" fmla="*/ 3276620 h 4067623"/>
                <a:gd name="connsiteX9" fmla="*/ 893057 w 22592916"/>
                <a:gd name="connsiteY9" fmla="*/ 3269145 h 4067623"/>
                <a:gd name="connsiteX0" fmla="*/ 0 w 20665229"/>
                <a:gd name="connsiteY0" fmla="*/ 3276620 h 4067623"/>
                <a:gd name="connsiteX1" fmla="*/ 0 w 20665229"/>
                <a:gd name="connsiteY1" fmla="*/ 0 h 4067623"/>
                <a:gd name="connsiteX2" fmla="*/ 20665191 w 20665229"/>
                <a:gd name="connsiteY2" fmla="*/ 56205 h 4067623"/>
                <a:gd name="connsiteX3" fmla="*/ 20659542 w 20665229"/>
                <a:gd name="connsiteY3" fmla="*/ 2908328 h 4067623"/>
                <a:gd name="connsiteX4" fmla="*/ 19865251 w 20665229"/>
                <a:gd name="connsiteY4" fmla="*/ 3293313 h 4067623"/>
                <a:gd name="connsiteX5" fmla="*/ 3185214 w 20665229"/>
                <a:gd name="connsiteY5" fmla="*/ 3269145 h 4067623"/>
                <a:gd name="connsiteX6" fmla="*/ 2042012 w 20665229"/>
                <a:gd name="connsiteY6" fmla="*/ 4067623 h 4067623"/>
                <a:gd name="connsiteX7" fmla="*/ 867658 w 20665229"/>
                <a:gd name="connsiteY7" fmla="*/ 3269145 h 4067623"/>
                <a:gd name="connsiteX8" fmla="*/ 0 w 20665229"/>
                <a:gd name="connsiteY8" fmla="*/ 3276620 h 4067623"/>
                <a:gd name="connsiteX0" fmla="*/ 30487 w 20695716"/>
                <a:gd name="connsiteY0" fmla="*/ 3247694 h 4038697"/>
                <a:gd name="connsiteX1" fmla="*/ 0 w 20695716"/>
                <a:gd name="connsiteY1" fmla="*/ 0 h 4038697"/>
                <a:gd name="connsiteX2" fmla="*/ 20695678 w 20695716"/>
                <a:gd name="connsiteY2" fmla="*/ 27279 h 4038697"/>
                <a:gd name="connsiteX3" fmla="*/ 20690029 w 20695716"/>
                <a:gd name="connsiteY3" fmla="*/ 2879402 h 4038697"/>
                <a:gd name="connsiteX4" fmla="*/ 19895738 w 20695716"/>
                <a:gd name="connsiteY4" fmla="*/ 3264387 h 4038697"/>
                <a:gd name="connsiteX5" fmla="*/ 3215701 w 20695716"/>
                <a:gd name="connsiteY5" fmla="*/ 3240219 h 4038697"/>
                <a:gd name="connsiteX6" fmla="*/ 2072499 w 20695716"/>
                <a:gd name="connsiteY6" fmla="*/ 4038697 h 4038697"/>
                <a:gd name="connsiteX7" fmla="*/ 898145 w 20695716"/>
                <a:gd name="connsiteY7" fmla="*/ 3240219 h 4038697"/>
                <a:gd name="connsiteX8" fmla="*/ 30487 w 20695716"/>
                <a:gd name="connsiteY8" fmla="*/ 3247694 h 4038697"/>
                <a:gd name="connsiteX0" fmla="*/ 7622 w 20695716"/>
                <a:gd name="connsiteY0" fmla="*/ 3231165 h 4038697"/>
                <a:gd name="connsiteX1" fmla="*/ 0 w 20695716"/>
                <a:gd name="connsiteY1" fmla="*/ 0 h 4038697"/>
                <a:gd name="connsiteX2" fmla="*/ 20695678 w 20695716"/>
                <a:gd name="connsiteY2" fmla="*/ 27279 h 4038697"/>
                <a:gd name="connsiteX3" fmla="*/ 20690029 w 20695716"/>
                <a:gd name="connsiteY3" fmla="*/ 2879402 h 4038697"/>
                <a:gd name="connsiteX4" fmla="*/ 19895738 w 20695716"/>
                <a:gd name="connsiteY4" fmla="*/ 3264387 h 4038697"/>
                <a:gd name="connsiteX5" fmla="*/ 3215701 w 20695716"/>
                <a:gd name="connsiteY5" fmla="*/ 3240219 h 4038697"/>
                <a:gd name="connsiteX6" fmla="*/ 2072499 w 20695716"/>
                <a:gd name="connsiteY6" fmla="*/ 4038697 h 4038697"/>
                <a:gd name="connsiteX7" fmla="*/ 898145 w 20695716"/>
                <a:gd name="connsiteY7" fmla="*/ 3240219 h 4038697"/>
                <a:gd name="connsiteX8" fmla="*/ 7622 w 20695716"/>
                <a:gd name="connsiteY8" fmla="*/ 3231165 h 4038697"/>
                <a:gd name="connsiteX0" fmla="*/ 7622 w 26846280"/>
                <a:gd name="connsiteY0" fmla="*/ 3231165 h 4038697"/>
                <a:gd name="connsiteX1" fmla="*/ 0 w 26846280"/>
                <a:gd name="connsiteY1" fmla="*/ 0 h 4038697"/>
                <a:gd name="connsiteX2" fmla="*/ 26846280 w 26846280"/>
                <a:gd name="connsiteY2" fmla="*/ 849000 h 4038697"/>
                <a:gd name="connsiteX3" fmla="*/ 20690029 w 26846280"/>
                <a:gd name="connsiteY3" fmla="*/ 2879402 h 4038697"/>
                <a:gd name="connsiteX4" fmla="*/ 19895738 w 26846280"/>
                <a:gd name="connsiteY4" fmla="*/ 3264387 h 4038697"/>
                <a:gd name="connsiteX5" fmla="*/ 3215701 w 26846280"/>
                <a:gd name="connsiteY5" fmla="*/ 3240219 h 4038697"/>
                <a:gd name="connsiteX6" fmla="*/ 2072499 w 26846280"/>
                <a:gd name="connsiteY6" fmla="*/ 4038697 h 4038697"/>
                <a:gd name="connsiteX7" fmla="*/ 898145 w 26846280"/>
                <a:gd name="connsiteY7" fmla="*/ 3240219 h 4038697"/>
                <a:gd name="connsiteX8" fmla="*/ 7622 w 26846280"/>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19895738 w 26879142"/>
                <a:gd name="connsiteY4" fmla="*/ 3264387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25989843 w 26879142"/>
                <a:gd name="connsiteY4" fmla="*/ 3195730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25989843 w 26879142"/>
                <a:gd name="connsiteY4" fmla="*/ 3195730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83264"/>
                <a:gd name="connsiteY0" fmla="*/ 3231165 h 4038697"/>
                <a:gd name="connsiteX1" fmla="*/ 0 w 26883264"/>
                <a:gd name="connsiteY1" fmla="*/ 0 h 4038697"/>
                <a:gd name="connsiteX2" fmla="*/ 26883213 w 26883264"/>
                <a:gd name="connsiteY2" fmla="*/ 797512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6 w 26875648"/>
                <a:gd name="connsiteY0" fmla="*/ 2733417 h 3540949"/>
                <a:gd name="connsiteX1" fmla="*/ 889350 w 26875648"/>
                <a:gd name="connsiteY1" fmla="*/ 0 h 3540949"/>
                <a:gd name="connsiteX2" fmla="*/ 26875597 w 26875648"/>
                <a:gd name="connsiteY2" fmla="*/ 288323 h 3540949"/>
                <a:gd name="connsiteX3" fmla="*/ 26871492 w 26875648"/>
                <a:gd name="connsiteY3" fmla="*/ 1649339 h 3540949"/>
                <a:gd name="connsiteX4" fmla="*/ 25496808 w 26875648"/>
                <a:gd name="connsiteY4" fmla="*/ 2692262 h 3540949"/>
                <a:gd name="connsiteX5" fmla="*/ 3208085 w 26875648"/>
                <a:gd name="connsiteY5" fmla="*/ 2742471 h 3540949"/>
                <a:gd name="connsiteX6" fmla="*/ 2064883 w 26875648"/>
                <a:gd name="connsiteY6" fmla="*/ 3540949 h 3540949"/>
                <a:gd name="connsiteX7" fmla="*/ 890529 w 26875648"/>
                <a:gd name="connsiteY7" fmla="*/ 2742471 h 3540949"/>
                <a:gd name="connsiteX8" fmla="*/ 6 w 26875648"/>
                <a:gd name="connsiteY8" fmla="*/ 2733417 h 3540949"/>
                <a:gd name="connsiteX0" fmla="*/ 6 w 26875648"/>
                <a:gd name="connsiteY0" fmla="*/ 2445094 h 3252626"/>
                <a:gd name="connsiteX1" fmla="*/ 894628 w 26875648"/>
                <a:gd name="connsiteY1" fmla="*/ 49230 h 3252626"/>
                <a:gd name="connsiteX2" fmla="*/ 26875597 w 26875648"/>
                <a:gd name="connsiteY2" fmla="*/ 0 h 3252626"/>
                <a:gd name="connsiteX3" fmla="*/ 26871492 w 26875648"/>
                <a:gd name="connsiteY3" fmla="*/ 1361016 h 3252626"/>
                <a:gd name="connsiteX4" fmla="*/ 25496808 w 26875648"/>
                <a:gd name="connsiteY4" fmla="*/ 2403939 h 3252626"/>
                <a:gd name="connsiteX5" fmla="*/ 3208085 w 26875648"/>
                <a:gd name="connsiteY5" fmla="*/ 2454148 h 3252626"/>
                <a:gd name="connsiteX6" fmla="*/ 2064883 w 26875648"/>
                <a:gd name="connsiteY6" fmla="*/ 3252626 h 3252626"/>
                <a:gd name="connsiteX7" fmla="*/ 890529 w 26875648"/>
                <a:gd name="connsiteY7" fmla="*/ 2454148 h 3252626"/>
                <a:gd name="connsiteX8" fmla="*/ 6 w 26875648"/>
                <a:gd name="connsiteY8" fmla="*/ 2445094 h 3252626"/>
                <a:gd name="connsiteX0" fmla="*/ 6 w 26875648"/>
                <a:gd name="connsiteY0" fmla="*/ 2447355 h 3254887"/>
                <a:gd name="connsiteX1" fmla="*/ 968498 w 26875648"/>
                <a:gd name="connsiteY1" fmla="*/ 0 h 3254887"/>
                <a:gd name="connsiteX2" fmla="*/ 26875597 w 26875648"/>
                <a:gd name="connsiteY2" fmla="*/ 2261 h 3254887"/>
                <a:gd name="connsiteX3" fmla="*/ 26871492 w 26875648"/>
                <a:gd name="connsiteY3" fmla="*/ 1363277 h 3254887"/>
                <a:gd name="connsiteX4" fmla="*/ 25496808 w 26875648"/>
                <a:gd name="connsiteY4" fmla="*/ 2406200 h 3254887"/>
                <a:gd name="connsiteX5" fmla="*/ 3208085 w 26875648"/>
                <a:gd name="connsiteY5" fmla="*/ 2456409 h 3254887"/>
                <a:gd name="connsiteX6" fmla="*/ 2064883 w 26875648"/>
                <a:gd name="connsiteY6" fmla="*/ 3254887 h 3254887"/>
                <a:gd name="connsiteX7" fmla="*/ 890529 w 26875648"/>
                <a:gd name="connsiteY7" fmla="*/ 2456409 h 3254887"/>
                <a:gd name="connsiteX8" fmla="*/ 6 w 26875648"/>
                <a:gd name="connsiteY8" fmla="*/ 2447355 h 3254887"/>
                <a:gd name="connsiteX0" fmla="*/ 6 w 26875648"/>
                <a:gd name="connsiteY0" fmla="*/ 2447355 h 3254887"/>
                <a:gd name="connsiteX1" fmla="*/ 968498 w 26875648"/>
                <a:gd name="connsiteY1" fmla="*/ 0 h 3254887"/>
                <a:gd name="connsiteX2" fmla="*/ 26875597 w 26875648"/>
                <a:gd name="connsiteY2" fmla="*/ 2261 h 3254887"/>
                <a:gd name="connsiteX3" fmla="*/ 26871492 w 26875648"/>
                <a:gd name="connsiteY3" fmla="*/ 1363277 h 3254887"/>
                <a:gd name="connsiteX4" fmla="*/ 25496808 w 26875648"/>
                <a:gd name="connsiteY4" fmla="*/ 2406200 h 3254887"/>
                <a:gd name="connsiteX5" fmla="*/ 3208085 w 26875648"/>
                <a:gd name="connsiteY5" fmla="*/ 2456409 h 3254887"/>
                <a:gd name="connsiteX6" fmla="*/ 2064883 w 26875648"/>
                <a:gd name="connsiteY6" fmla="*/ 3254887 h 3254887"/>
                <a:gd name="connsiteX7" fmla="*/ 890529 w 26875648"/>
                <a:gd name="connsiteY7" fmla="*/ 2456411 h 3254887"/>
                <a:gd name="connsiteX8" fmla="*/ 6 w 26875648"/>
                <a:gd name="connsiteY8" fmla="*/ 2447355 h 3254887"/>
                <a:gd name="connsiteX0" fmla="*/ 0 w 25985119"/>
                <a:gd name="connsiteY0" fmla="*/ 2456411 h 3254887"/>
                <a:gd name="connsiteX1" fmla="*/ 77969 w 25985119"/>
                <a:gd name="connsiteY1" fmla="*/ 0 h 3254887"/>
                <a:gd name="connsiteX2" fmla="*/ 25985068 w 25985119"/>
                <a:gd name="connsiteY2" fmla="*/ 2261 h 3254887"/>
                <a:gd name="connsiteX3" fmla="*/ 25980963 w 25985119"/>
                <a:gd name="connsiteY3" fmla="*/ 1363277 h 3254887"/>
                <a:gd name="connsiteX4" fmla="*/ 24606279 w 25985119"/>
                <a:gd name="connsiteY4" fmla="*/ 2406200 h 3254887"/>
                <a:gd name="connsiteX5" fmla="*/ 2317556 w 25985119"/>
                <a:gd name="connsiteY5" fmla="*/ 2456409 h 3254887"/>
                <a:gd name="connsiteX6" fmla="*/ 1174354 w 25985119"/>
                <a:gd name="connsiteY6" fmla="*/ 3254887 h 3254887"/>
                <a:gd name="connsiteX7" fmla="*/ 0 w 25985119"/>
                <a:gd name="connsiteY7" fmla="*/ 2456411 h 3254887"/>
                <a:gd name="connsiteX0" fmla="*/ 17005 w 25907150"/>
                <a:gd name="connsiteY0" fmla="*/ 2427806 h 3254887"/>
                <a:gd name="connsiteX1" fmla="*/ 0 w 25907150"/>
                <a:gd name="connsiteY1" fmla="*/ 0 h 3254887"/>
                <a:gd name="connsiteX2" fmla="*/ 25907099 w 25907150"/>
                <a:gd name="connsiteY2" fmla="*/ 2261 h 3254887"/>
                <a:gd name="connsiteX3" fmla="*/ 25902994 w 25907150"/>
                <a:gd name="connsiteY3" fmla="*/ 1363277 h 3254887"/>
                <a:gd name="connsiteX4" fmla="*/ 24528310 w 25907150"/>
                <a:gd name="connsiteY4" fmla="*/ 2406200 h 3254887"/>
                <a:gd name="connsiteX5" fmla="*/ 2239587 w 25907150"/>
                <a:gd name="connsiteY5" fmla="*/ 2456409 h 3254887"/>
                <a:gd name="connsiteX6" fmla="*/ 1096385 w 25907150"/>
                <a:gd name="connsiteY6" fmla="*/ 3254887 h 3254887"/>
                <a:gd name="connsiteX7" fmla="*/ 17005 w 25907150"/>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09 h 3254887"/>
                <a:gd name="connsiteX6" fmla="*/ 1100487 w 25911252"/>
                <a:gd name="connsiteY6" fmla="*/ 3254887 h 3254887"/>
                <a:gd name="connsiteX7" fmla="*/ 0 w 25911252"/>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11 h 3254887"/>
                <a:gd name="connsiteX6" fmla="*/ 1100487 w 25911252"/>
                <a:gd name="connsiteY6" fmla="*/ 3254887 h 3254887"/>
                <a:gd name="connsiteX7" fmla="*/ 0 w 25911252"/>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11 h 3254887"/>
                <a:gd name="connsiteX6" fmla="*/ 1100487 w 25911252"/>
                <a:gd name="connsiteY6" fmla="*/ 3254887 h 3254887"/>
                <a:gd name="connsiteX7" fmla="*/ 0 w 25911252"/>
                <a:gd name="connsiteY7" fmla="*/ 2427806 h 3254887"/>
                <a:gd name="connsiteX0" fmla="*/ 0 w 25915879"/>
                <a:gd name="connsiteY0" fmla="*/ 2447870 h 3254887"/>
                <a:gd name="connsiteX1" fmla="*/ 8729 w 25915879"/>
                <a:gd name="connsiteY1" fmla="*/ 0 h 3254887"/>
                <a:gd name="connsiteX2" fmla="*/ 25915828 w 25915879"/>
                <a:gd name="connsiteY2" fmla="*/ 2261 h 3254887"/>
                <a:gd name="connsiteX3" fmla="*/ 25911723 w 25915879"/>
                <a:gd name="connsiteY3" fmla="*/ 1363277 h 3254887"/>
                <a:gd name="connsiteX4" fmla="*/ 24537039 w 25915879"/>
                <a:gd name="connsiteY4" fmla="*/ 2406200 h 3254887"/>
                <a:gd name="connsiteX5" fmla="*/ 2248316 w 25915879"/>
                <a:gd name="connsiteY5" fmla="*/ 2456411 h 3254887"/>
                <a:gd name="connsiteX6" fmla="*/ 1105114 w 25915879"/>
                <a:gd name="connsiteY6" fmla="*/ 3254887 h 3254887"/>
                <a:gd name="connsiteX7" fmla="*/ 0 w 25915879"/>
                <a:gd name="connsiteY7" fmla="*/ 2447870 h 3254887"/>
                <a:gd name="connsiteX0" fmla="*/ 0 w 25915879"/>
                <a:gd name="connsiteY0" fmla="*/ 2447870 h 3254887"/>
                <a:gd name="connsiteX1" fmla="*/ 8729 w 25915879"/>
                <a:gd name="connsiteY1" fmla="*/ 0 h 3254887"/>
                <a:gd name="connsiteX2" fmla="*/ 25915828 w 25915879"/>
                <a:gd name="connsiteY2" fmla="*/ 2261 h 3254887"/>
                <a:gd name="connsiteX3" fmla="*/ 25911723 w 25915879"/>
                <a:gd name="connsiteY3" fmla="*/ 1363277 h 3254887"/>
                <a:gd name="connsiteX4" fmla="*/ 24537039 w 25915879"/>
                <a:gd name="connsiteY4" fmla="*/ 2406200 h 3254887"/>
                <a:gd name="connsiteX5" fmla="*/ 2248316 w 25915879"/>
                <a:gd name="connsiteY5" fmla="*/ 2456411 h 3254887"/>
                <a:gd name="connsiteX6" fmla="*/ 1105114 w 25915879"/>
                <a:gd name="connsiteY6" fmla="*/ 3254887 h 3254887"/>
                <a:gd name="connsiteX7" fmla="*/ 0 w 25915879"/>
                <a:gd name="connsiteY7" fmla="*/ 2447870 h 3254887"/>
                <a:gd name="connsiteX0" fmla="*/ 0 w 25915879"/>
                <a:gd name="connsiteY0" fmla="*/ 2447870 h 3169172"/>
                <a:gd name="connsiteX1" fmla="*/ 8729 w 25915879"/>
                <a:gd name="connsiteY1" fmla="*/ 0 h 3169172"/>
                <a:gd name="connsiteX2" fmla="*/ 25915828 w 25915879"/>
                <a:gd name="connsiteY2" fmla="*/ 2261 h 3169172"/>
                <a:gd name="connsiteX3" fmla="*/ 25911723 w 25915879"/>
                <a:gd name="connsiteY3" fmla="*/ 1363277 h 3169172"/>
                <a:gd name="connsiteX4" fmla="*/ 24537039 w 25915879"/>
                <a:gd name="connsiteY4" fmla="*/ 2406200 h 3169172"/>
                <a:gd name="connsiteX5" fmla="*/ 2248316 w 25915879"/>
                <a:gd name="connsiteY5" fmla="*/ 2456411 h 3169172"/>
                <a:gd name="connsiteX6" fmla="*/ 1105113 w 25915879"/>
                <a:gd name="connsiteY6" fmla="*/ 3169172 h 3169172"/>
                <a:gd name="connsiteX7" fmla="*/ 0 w 25915879"/>
                <a:gd name="connsiteY7" fmla="*/ 2447870 h 3169172"/>
                <a:gd name="connsiteX0" fmla="*/ 0 w 25915879"/>
                <a:gd name="connsiteY0" fmla="*/ 2447870 h 3169172"/>
                <a:gd name="connsiteX1" fmla="*/ 8729 w 25915879"/>
                <a:gd name="connsiteY1" fmla="*/ 0 h 3169172"/>
                <a:gd name="connsiteX2" fmla="*/ 25915828 w 25915879"/>
                <a:gd name="connsiteY2" fmla="*/ 2261 h 3169172"/>
                <a:gd name="connsiteX3" fmla="*/ 25911723 w 25915879"/>
                <a:gd name="connsiteY3" fmla="*/ 1363277 h 3169172"/>
                <a:gd name="connsiteX4" fmla="*/ 24537039 w 25915879"/>
                <a:gd name="connsiteY4" fmla="*/ 2406200 h 3169172"/>
                <a:gd name="connsiteX5" fmla="*/ 2248316 w 25915879"/>
                <a:gd name="connsiteY5" fmla="*/ 2456411 h 3169172"/>
                <a:gd name="connsiteX6" fmla="*/ 1137451 w 25915879"/>
                <a:gd name="connsiteY6" fmla="*/ 3169172 h 3169172"/>
                <a:gd name="connsiteX7" fmla="*/ 0 w 25915879"/>
                <a:gd name="connsiteY7" fmla="*/ 2447870 h 3169172"/>
                <a:gd name="connsiteX0" fmla="*/ 0 w 25915879"/>
                <a:gd name="connsiteY0" fmla="*/ 2447870 h 3021118"/>
                <a:gd name="connsiteX1" fmla="*/ 8729 w 25915879"/>
                <a:gd name="connsiteY1" fmla="*/ 0 h 3021118"/>
                <a:gd name="connsiteX2" fmla="*/ 25915828 w 25915879"/>
                <a:gd name="connsiteY2" fmla="*/ 2261 h 3021118"/>
                <a:gd name="connsiteX3" fmla="*/ 25911723 w 25915879"/>
                <a:gd name="connsiteY3" fmla="*/ 1363277 h 3021118"/>
                <a:gd name="connsiteX4" fmla="*/ 24537039 w 25915879"/>
                <a:gd name="connsiteY4" fmla="*/ 2406200 h 3021118"/>
                <a:gd name="connsiteX5" fmla="*/ 2248316 w 25915879"/>
                <a:gd name="connsiteY5" fmla="*/ 2456411 h 3021118"/>
                <a:gd name="connsiteX6" fmla="*/ 1133859 w 25915879"/>
                <a:gd name="connsiteY6" fmla="*/ 3021118 h 3021118"/>
                <a:gd name="connsiteX7" fmla="*/ 0 w 25915879"/>
                <a:gd name="connsiteY7" fmla="*/ 2447870 h 3021118"/>
                <a:gd name="connsiteX0" fmla="*/ 0 w 25915879"/>
                <a:gd name="connsiteY0" fmla="*/ 2447870 h 3138002"/>
                <a:gd name="connsiteX1" fmla="*/ 8729 w 25915879"/>
                <a:gd name="connsiteY1" fmla="*/ 0 h 3138002"/>
                <a:gd name="connsiteX2" fmla="*/ 25915828 w 25915879"/>
                <a:gd name="connsiteY2" fmla="*/ 2261 h 3138002"/>
                <a:gd name="connsiteX3" fmla="*/ 25911723 w 25915879"/>
                <a:gd name="connsiteY3" fmla="*/ 1363277 h 3138002"/>
                <a:gd name="connsiteX4" fmla="*/ 24537039 w 25915879"/>
                <a:gd name="connsiteY4" fmla="*/ 2406200 h 3138002"/>
                <a:gd name="connsiteX5" fmla="*/ 2248316 w 25915879"/>
                <a:gd name="connsiteY5" fmla="*/ 2456411 h 3138002"/>
                <a:gd name="connsiteX6" fmla="*/ 1141043 w 25915879"/>
                <a:gd name="connsiteY6" fmla="*/ 3138002 h 3138002"/>
                <a:gd name="connsiteX7" fmla="*/ 0 w 25915879"/>
                <a:gd name="connsiteY7" fmla="*/ 2447870 h 3138002"/>
                <a:gd name="connsiteX0" fmla="*/ 0 w 25915879"/>
                <a:gd name="connsiteY0" fmla="*/ 2447870 h 3138002"/>
                <a:gd name="connsiteX1" fmla="*/ 8729 w 25915879"/>
                <a:gd name="connsiteY1" fmla="*/ 0 h 3138002"/>
                <a:gd name="connsiteX2" fmla="*/ 25915828 w 25915879"/>
                <a:gd name="connsiteY2" fmla="*/ 2261 h 3138002"/>
                <a:gd name="connsiteX3" fmla="*/ 25911723 w 25915879"/>
                <a:gd name="connsiteY3" fmla="*/ 1363277 h 3138002"/>
                <a:gd name="connsiteX4" fmla="*/ 24537039 w 25915879"/>
                <a:gd name="connsiteY4" fmla="*/ 2406200 h 3138002"/>
                <a:gd name="connsiteX5" fmla="*/ 2248316 w 25915879"/>
                <a:gd name="connsiteY5" fmla="*/ 2456411 h 3138002"/>
                <a:gd name="connsiteX6" fmla="*/ 1141043 w 25915879"/>
                <a:gd name="connsiteY6" fmla="*/ 3138002 h 3138002"/>
                <a:gd name="connsiteX7" fmla="*/ 0 w 25915879"/>
                <a:gd name="connsiteY7" fmla="*/ 2447870 h 3138002"/>
                <a:gd name="connsiteX0" fmla="*/ 0 w 25915879"/>
                <a:gd name="connsiteY0" fmla="*/ 2447870 h 3149688"/>
                <a:gd name="connsiteX1" fmla="*/ 8729 w 25915879"/>
                <a:gd name="connsiteY1" fmla="*/ 0 h 3149688"/>
                <a:gd name="connsiteX2" fmla="*/ 25915828 w 25915879"/>
                <a:gd name="connsiteY2" fmla="*/ 2261 h 3149688"/>
                <a:gd name="connsiteX3" fmla="*/ 25911723 w 25915879"/>
                <a:gd name="connsiteY3" fmla="*/ 1363277 h 3149688"/>
                <a:gd name="connsiteX4" fmla="*/ 24537039 w 25915879"/>
                <a:gd name="connsiteY4" fmla="*/ 2406200 h 3149688"/>
                <a:gd name="connsiteX5" fmla="*/ 2248316 w 25915879"/>
                <a:gd name="connsiteY5" fmla="*/ 2456411 h 3149688"/>
                <a:gd name="connsiteX6" fmla="*/ 1137451 w 25915879"/>
                <a:gd name="connsiteY6" fmla="*/ 3149688 h 3149688"/>
                <a:gd name="connsiteX7" fmla="*/ 0 w 25915879"/>
                <a:gd name="connsiteY7" fmla="*/ 2447870 h 3149688"/>
                <a:gd name="connsiteX0" fmla="*/ 0 w 25915879"/>
                <a:gd name="connsiteY0" fmla="*/ 2447870 h 3161374"/>
                <a:gd name="connsiteX1" fmla="*/ 8729 w 25915879"/>
                <a:gd name="connsiteY1" fmla="*/ 0 h 3161374"/>
                <a:gd name="connsiteX2" fmla="*/ 25915828 w 25915879"/>
                <a:gd name="connsiteY2" fmla="*/ 2261 h 3161374"/>
                <a:gd name="connsiteX3" fmla="*/ 25911723 w 25915879"/>
                <a:gd name="connsiteY3" fmla="*/ 1363277 h 3161374"/>
                <a:gd name="connsiteX4" fmla="*/ 24537039 w 25915879"/>
                <a:gd name="connsiteY4" fmla="*/ 2406200 h 3161374"/>
                <a:gd name="connsiteX5" fmla="*/ 2248316 w 25915879"/>
                <a:gd name="connsiteY5" fmla="*/ 2456411 h 3161374"/>
                <a:gd name="connsiteX6" fmla="*/ 1137451 w 25915879"/>
                <a:gd name="connsiteY6" fmla="*/ 3161374 h 3161374"/>
                <a:gd name="connsiteX7" fmla="*/ 0 w 25915879"/>
                <a:gd name="connsiteY7" fmla="*/ 2447870 h 3161374"/>
                <a:gd name="connsiteX0" fmla="*/ 8729 w 25915879"/>
                <a:gd name="connsiteY0" fmla="*/ 0 h 3161374"/>
                <a:gd name="connsiteX1" fmla="*/ 25915828 w 25915879"/>
                <a:gd name="connsiteY1" fmla="*/ 2261 h 3161374"/>
                <a:gd name="connsiteX2" fmla="*/ 25911723 w 25915879"/>
                <a:gd name="connsiteY2" fmla="*/ 1363277 h 3161374"/>
                <a:gd name="connsiteX3" fmla="*/ 24537039 w 25915879"/>
                <a:gd name="connsiteY3" fmla="*/ 2406200 h 3161374"/>
                <a:gd name="connsiteX4" fmla="*/ 2248316 w 25915879"/>
                <a:gd name="connsiteY4" fmla="*/ 2456411 h 3161374"/>
                <a:gd name="connsiteX5" fmla="*/ 1137451 w 25915879"/>
                <a:gd name="connsiteY5" fmla="*/ 3161374 h 3161374"/>
                <a:gd name="connsiteX6" fmla="*/ 0 w 25915879"/>
                <a:gd name="connsiteY6" fmla="*/ 2447870 h 3161374"/>
                <a:gd name="connsiteX7" fmla="*/ 267794 w 25915879"/>
                <a:gd name="connsiteY7" fmla="*/ 280913 h 3161374"/>
                <a:gd name="connsiteX0" fmla="*/ 8729 w 25915879"/>
                <a:gd name="connsiteY0" fmla="*/ 0 h 3161374"/>
                <a:gd name="connsiteX1" fmla="*/ 25915828 w 25915879"/>
                <a:gd name="connsiteY1" fmla="*/ 2261 h 3161374"/>
                <a:gd name="connsiteX2" fmla="*/ 25911723 w 25915879"/>
                <a:gd name="connsiteY2" fmla="*/ 1363277 h 3161374"/>
                <a:gd name="connsiteX3" fmla="*/ 24537039 w 25915879"/>
                <a:gd name="connsiteY3" fmla="*/ 2406200 h 3161374"/>
                <a:gd name="connsiteX4" fmla="*/ 2248316 w 25915879"/>
                <a:gd name="connsiteY4" fmla="*/ 2456411 h 3161374"/>
                <a:gd name="connsiteX5" fmla="*/ 1137451 w 25915879"/>
                <a:gd name="connsiteY5" fmla="*/ 3161374 h 3161374"/>
                <a:gd name="connsiteX6" fmla="*/ 0 w 25915879"/>
                <a:gd name="connsiteY6" fmla="*/ 2447870 h 3161374"/>
                <a:gd name="connsiteX0" fmla="*/ 25915828 w 25915879"/>
                <a:gd name="connsiteY0" fmla="*/ 0 h 3159113"/>
                <a:gd name="connsiteX1" fmla="*/ 25911723 w 25915879"/>
                <a:gd name="connsiteY1" fmla="*/ 1361016 h 3159113"/>
                <a:gd name="connsiteX2" fmla="*/ 24537039 w 25915879"/>
                <a:gd name="connsiteY2" fmla="*/ 2403939 h 3159113"/>
                <a:gd name="connsiteX3" fmla="*/ 2248316 w 25915879"/>
                <a:gd name="connsiteY3" fmla="*/ 2454150 h 3159113"/>
                <a:gd name="connsiteX4" fmla="*/ 1137451 w 25915879"/>
                <a:gd name="connsiteY4" fmla="*/ 3159113 h 3159113"/>
                <a:gd name="connsiteX5" fmla="*/ 0 w 25915879"/>
                <a:gd name="connsiteY5" fmla="*/ 2445609 h 3159113"/>
                <a:gd name="connsiteX0" fmla="*/ 25911723 w 25911731"/>
                <a:gd name="connsiteY0" fmla="*/ 1 h 1798098"/>
                <a:gd name="connsiteX1" fmla="*/ 24537039 w 25911731"/>
                <a:gd name="connsiteY1" fmla="*/ 1042924 h 1798098"/>
                <a:gd name="connsiteX2" fmla="*/ 2248316 w 25911731"/>
                <a:gd name="connsiteY2" fmla="*/ 1093135 h 1798098"/>
                <a:gd name="connsiteX3" fmla="*/ 1137451 w 25911731"/>
                <a:gd name="connsiteY3" fmla="*/ 1798098 h 1798098"/>
                <a:gd name="connsiteX4" fmla="*/ 0 w 25911731"/>
                <a:gd name="connsiteY4" fmla="*/ 1084594 h 179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1731" h="1798098">
                  <a:moveTo>
                    <a:pt x="25911723" y="1"/>
                  </a:moveTo>
                  <a:cubicBezTo>
                    <a:pt x="25915358" y="1117162"/>
                    <a:pt x="24907606" y="1042700"/>
                    <a:pt x="24537039" y="1042924"/>
                  </a:cubicBezTo>
                  <a:lnTo>
                    <a:pt x="2248316" y="1093135"/>
                  </a:lnTo>
                  <a:cubicBezTo>
                    <a:pt x="1655273" y="1103392"/>
                    <a:pt x="1329060" y="1335276"/>
                    <a:pt x="1137451" y="1798098"/>
                  </a:cubicBezTo>
                  <a:cubicBezTo>
                    <a:pt x="849876" y="1144972"/>
                    <a:pt x="329529" y="1093749"/>
                    <a:pt x="0" y="1084594"/>
                  </a:cubicBezTo>
                </a:path>
              </a:pathLst>
            </a:custGeom>
            <a:noFill/>
            <a:ln w="28575" cmpd="sng" algn="ctr">
              <a:solidFill>
                <a:schemeClr val="accent2"/>
              </a:solidFill>
              <a:miter lim="800000"/>
              <a:headEnd/>
              <a:tailEnd/>
            </a:ln>
            <a:effectLst/>
          </p:spPr>
          <p:txBody>
            <a:bodyPr wrap="square" lIns="33059" tIns="42974" rIns="33059" bIns="42974" rtlCol="0" anchor="ctr"/>
            <a:lstStyle/>
            <a:p>
              <a:pPr algn="ctr" fontAlgn="auto">
                <a:spcBef>
                  <a:spcPts val="0"/>
                </a:spcBef>
                <a:spcAft>
                  <a:spcPts val="0"/>
                </a:spcAft>
              </a:pPr>
              <a:endParaRPr lang="en-US" sz="1333" dirty="0">
                <a:solidFill>
                  <a:schemeClr val="bg1"/>
                </a:solidFill>
                <a:latin typeface="Arial" pitchFamily="34" charset="0"/>
                <a:cs typeface="Arial" pitchFamily="34" charset="0"/>
              </a:endParaRPr>
            </a:p>
          </p:txBody>
        </p:sp>
      </p:grpSp>
      <p:graphicFrame>
        <p:nvGraphicFramePr>
          <p:cNvPr id="3" name="Object 2" hidden="1"/>
          <p:cNvGraphicFramePr>
            <a:graphicFrameLocks noChangeAspect="1"/>
          </p:cNvGraphicFramePr>
          <p:nvPr>
            <p:custDataLst>
              <p:tags r:id="rId1"/>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solidFill>
                  <a:schemeClr val="tx1"/>
                </a:solidFill>
              </a:defRPr>
            </a:lvl1pPr>
          </a:lstStyle>
          <a:p>
            <a:pPr lvl="0"/>
            <a:r>
              <a:rPr lang="en-US" noProof="0" dirty="0"/>
              <a:t>Click to edit Master title style</a:t>
            </a:r>
          </a:p>
        </p:txBody>
      </p:sp>
    </p:spTree>
    <p:extLst>
      <p:ext uri="{BB962C8B-B14F-4D97-AF65-F5344CB8AC3E}">
        <p14:creationId xmlns:p14="http://schemas.microsoft.com/office/powerpoint/2010/main" val="7630012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70848" y="2669721"/>
            <a:ext cx="3127881" cy="1495794"/>
          </a:xfrm>
          <a:prstGeom prst="rect">
            <a:avLst/>
          </a:prstGeom>
        </p:spPr>
        <p:txBody>
          <a:bodyPr anchor="ctr">
            <a:noAutofit/>
          </a:bodyPr>
          <a:lstStyle>
            <a:lvl1pPr>
              <a:defRPr sz="3200">
                <a:solidFill>
                  <a:schemeClr val="bg1"/>
                </a:solidFill>
                <a:latin typeface="Segoe UI" panose="020B0502040204020203" pitchFamily="34" charset="0"/>
                <a:cs typeface="Segoe UI" panose="020B0502040204020203" pitchFamily="34" charset="0"/>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20180605 NA Master Deck v6.pptx</a:t>
            </a:r>
          </a:p>
        </p:txBody>
      </p:sp>
      <p:sp>
        <p:nvSpPr>
          <p:cNvPr id="12" name="Line 7">
            <a:extLst>
              <a:ext uri="{FF2B5EF4-FFF2-40B4-BE49-F238E27FC236}">
                <a16:creationId xmlns:a16="http://schemas.microsoft.com/office/drawing/2014/main" id="{877EE6E3-3138-4573-B63C-094817D7FFEF}"/>
              </a:ext>
            </a:extLst>
          </p:cNvPr>
          <p:cNvSpPr>
            <a:spLocks noChangeShapeType="1"/>
          </p:cNvSpPr>
          <p:nvPr userDrawn="1"/>
        </p:nvSpPr>
        <p:spPr bwMode="gray">
          <a:xfrm>
            <a:off x="11588749" y="6450414"/>
            <a:ext cx="0" cy="319616"/>
          </a:xfrm>
          <a:prstGeom prst="line">
            <a:avLst/>
          </a:prstGeom>
          <a:noFill/>
          <a:ln w="9525">
            <a:solidFill>
              <a:srgbClr val="969696"/>
            </a:solidFill>
            <a:round/>
            <a:headEnd/>
            <a:tailEnd/>
          </a:ln>
          <a:effectLst/>
        </p:spPr>
        <p:txBody>
          <a:bodyPr wrap="none" anchor="ctr"/>
          <a:lstStyle/>
          <a:p>
            <a:endParaRPr lang="en-US" sz="2723" dirty="0">
              <a:solidFill>
                <a:schemeClr val="tx2"/>
              </a:solidFill>
              <a:latin typeface="+mj-lt"/>
            </a:endParaRPr>
          </a:p>
        </p:txBody>
      </p:sp>
      <p:sp>
        <p:nvSpPr>
          <p:cNvPr id="20" name="Text Box 8">
            <a:extLst>
              <a:ext uri="{FF2B5EF4-FFF2-40B4-BE49-F238E27FC236}">
                <a16:creationId xmlns:a16="http://schemas.microsoft.com/office/drawing/2014/main" id="{3225635A-59F2-4B2A-8600-8545DAE26570}"/>
              </a:ext>
            </a:extLst>
          </p:cNvPr>
          <p:cNvSpPr txBox="1">
            <a:spLocks noChangeArrowheads="1"/>
          </p:cNvSpPr>
          <p:nvPr userDrawn="1"/>
        </p:nvSpPr>
        <p:spPr bwMode="gray">
          <a:xfrm>
            <a:off x="11588753" y="6448296"/>
            <a:ext cx="603251"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1192">
                <a:solidFill>
                  <a:srgbClr val="969696"/>
                </a:solidFill>
                <a:latin typeface="+mj-lt"/>
              </a:rPr>
              <a:pPr eaLnBrk="0" hangingPunct="0">
                <a:lnSpc>
                  <a:spcPct val="85000"/>
                </a:lnSpc>
              </a:pPr>
              <a:t>‹#›</a:t>
            </a:fld>
            <a:endParaRPr lang="en-US" sz="1192" dirty="0">
              <a:solidFill>
                <a:srgbClr val="969696"/>
              </a:solidFill>
              <a:latin typeface="+mj-lt"/>
            </a:endParaRPr>
          </a:p>
        </p:txBody>
      </p:sp>
      <p:sp>
        <p:nvSpPr>
          <p:cNvPr id="21" name="Text Box 9">
            <a:extLst>
              <a:ext uri="{FF2B5EF4-FFF2-40B4-BE49-F238E27FC236}">
                <a16:creationId xmlns:a16="http://schemas.microsoft.com/office/drawing/2014/main" id="{52DC4174-B958-4266-BC6D-CD5BBE008EA3}"/>
              </a:ext>
            </a:extLst>
          </p:cNvPr>
          <p:cNvSpPr txBox="1">
            <a:spLocks noChangeArrowheads="1"/>
          </p:cNvSpPr>
          <p:nvPr userDrawn="1"/>
        </p:nvSpPr>
        <p:spPr bwMode="gray">
          <a:xfrm>
            <a:off x="5475819" y="6513914"/>
            <a:ext cx="6068484" cy="203645"/>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51" dirty="0">
                <a:solidFill>
                  <a:schemeClr val="tx2"/>
                </a:solidFill>
                <a:latin typeface="+mj-lt"/>
              </a:rPr>
              <a:t>The information contained in this document is proprietary. Copyright © 2018 Capgemini. All rights reserved.</a:t>
            </a:r>
          </a:p>
        </p:txBody>
      </p:sp>
      <p:pic>
        <p:nvPicPr>
          <p:cNvPr id="22" name="Graphic 4">
            <a:extLst>
              <a:ext uri="{FF2B5EF4-FFF2-40B4-BE49-F238E27FC236}">
                <a16:creationId xmlns:a16="http://schemas.microsoft.com/office/drawing/2014/main" id="{F87FE143-D74F-4B2F-8F53-5A0401441595}"/>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048494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3528172" y="0"/>
            <a:ext cx="8687689" cy="6860409"/>
          </a:xfrm>
          <a:custGeom>
            <a:avLst/>
            <a:gdLst>
              <a:gd name="connsiteX0" fmla="*/ 8442036 w 8442036"/>
              <a:gd name="connsiteY0" fmla="*/ 9237 h 6862618"/>
              <a:gd name="connsiteX1" fmla="*/ 8442036 w 8442036"/>
              <a:gd name="connsiteY1" fmla="*/ 6862618 h 6862618"/>
              <a:gd name="connsiteX2" fmla="*/ 6576291 w 8442036"/>
              <a:gd name="connsiteY2" fmla="*/ 6862618 h 6862618"/>
              <a:gd name="connsiteX3" fmla="*/ 5440218 w 8442036"/>
              <a:gd name="connsiteY3" fmla="*/ 59020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52918 w 8442036"/>
              <a:gd name="connsiteY3" fmla="*/ 59274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581439 w 8581439"/>
              <a:gd name="connsiteY0" fmla="*/ 9237 h 6862618"/>
              <a:gd name="connsiteX1" fmla="*/ 8581439 w 8581439"/>
              <a:gd name="connsiteY1" fmla="*/ 6862618 h 6862618"/>
              <a:gd name="connsiteX2" fmla="*/ 6715694 w 8581439"/>
              <a:gd name="connsiteY2" fmla="*/ 6862618 h 6862618"/>
              <a:gd name="connsiteX3" fmla="*/ 5566921 w 8581439"/>
              <a:gd name="connsiteY3" fmla="*/ 5882987 h 6862618"/>
              <a:gd name="connsiteX4" fmla="*/ 3477194 w 8581439"/>
              <a:gd name="connsiteY4" fmla="*/ 2545773 h 6862618"/>
              <a:gd name="connsiteX5" fmla="*/ 139403 w 8581439"/>
              <a:gd name="connsiteY5" fmla="*/ 0 h 6862618"/>
              <a:gd name="connsiteX6" fmla="*/ 8581439 w 8581439"/>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708736 w 8708736"/>
              <a:gd name="connsiteY0" fmla="*/ 9237 h 6862618"/>
              <a:gd name="connsiteX1" fmla="*/ 8442036 w 8708736"/>
              <a:gd name="connsiteY1" fmla="*/ 6862618 h 6862618"/>
              <a:gd name="connsiteX2" fmla="*/ 6576291 w 8708736"/>
              <a:gd name="connsiteY2" fmla="*/ 6862618 h 6862618"/>
              <a:gd name="connsiteX3" fmla="*/ 5427518 w 8708736"/>
              <a:gd name="connsiteY3" fmla="*/ 5882987 h 6862618"/>
              <a:gd name="connsiteX4" fmla="*/ 3572741 w 8708736"/>
              <a:gd name="connsiteY4" fmla="*/ 2469573 h 6862618"/>
              <a:gd name="connsiteX5" fmla="*/ 0 w 8708736"/>
              <a:gd name="connsiteY5" fmla="*/ 0 h 6862618"/>
              <a:gd name="connsiteX6" fmla="*/ 8708736 w 8708736"/>
              <a:gd name="connsiteY6" fmla="*/ 9237 h 686261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2912"/>
              <a:gd name="connsiteX1" fmla="*/ 8671224 w 8708736"/>
              <a:gd name="connsiteY1" fmla="*/ 6862912 h 6862912"/>
              <a:gd name="connsiteX2" fmla="*/ 6576291 w 8708736"/>
              <a:gd name="connsiteY2" fmla="*/ 6862618 h 6862912"/>
              <a:gd name="connsiteX3" fmla="*/ 5427518 w 8708736"/>
              <a:gd name="connsiteY3" fmla="*/ 5882987 h 6862912"/>
              <a:gd name="connsiteX4" fmla="*/ 3572741 w 8708736"/>
              <a:gd name="connsiteY4" fmla="*/ 2469573 h 6862912"/>
              <a:gd name="connsiteX5" fmla="*/ 0 w 8708736"/>
              <a:gd name="connsiteY5" fmla="*/ 0 h 6862912"/>
              <a:gd name="connsiteX6" fmla="*/ 8708736 w 8708736"/>
              <a:gd name="connsiteY6" fmla="*/ 9237 h 6862912"/>
              <a:gd name="connsiteX0" fmla="*/ 8708736 w 8708736"/>
              <a:gd name="connsiteY0" fmla="*/ 9237 h 6874702"/>
              <a:gd name="connsiteX1" fmla="*/ 8690874 w 8708736"/>
              <a:gd name="connsiteY1" fmla="*/ 6874702 h 6874702"/>
              <a:gd name="connsiteX2" fmla="*/ 6576291 w 8708736"/>
              <a:gd name="connsiteY2" fmla="*/ 6862618 h 6874702"/>
              <a:gd name="connsiteX3" fmla="*/ 5427518 w 8708736"/>
              <a:gd name="connsiteY3" fmla="*/ 5882987 h 6874702"/>
              <a:gd name="connsiteX4" fmla="*/ 3572741 w 8708736"/>
              <a:gd name="connsiteY4" fmla="*/ 2469573 h 6874702"/>
              <a:gd name="connsiteX5" fmla="*/ 0 w 8708736"/>
              <a:gd name="connsiteY5" fmla="*/ 0 h 6874702"/>
              <a:gd name="connsiteX6" fmla="*/ 8708736 w 8708736"/>
              <a:gd name="connsiteY6" fmla="*/ 9237 h 6874702"/>
              <a:gd name="connsiteX0" fmla="*/ 8708736 w 8708736"/>
              <a:gd name="connsiteY0" fmla="*/ 9237 h 6877028"/>
              <a:gd name="connsiteX1" fmla="*/ 8690874 w 8708736"/>
              <a:gd name="connsiteY1" fmla="*/ 6874702 h 6877028"/>
              <a:gd name="connsiteX2" fmla="*/ 6585461 w 8708736"/>
              <a:gd name="connsiteY2" fmla="*/ 6877028 h 6877028"/>
              <a:gd name="connsiteX3" fmla="*/ 5427518 w 8708736"/>
              <a:gd name="connsiteY3" fmla="*/ 5882987 h 6877028"/>
              <a:gd name="connsiteX4" fmla="*/ 3572741 w 8708736"/>
              <a:gd name="connsiteY4" fmla="*/ 2469573 h 6877028"/>
              <a:gd name="connsiteX5" fmla="*/ 0 w 8708736"/>
              <a:gd name="connsiteY5" fmla="*/ 0 h 6877028"/>
              <a:gd name="connsiteX6" fmla="*/ 8708736 w 8708736"/>
              <a:gd name="connsiteY6" fmla="*/ 9237 h 687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8736" h="6877028">
                <a:moveTo>
                  <a:pt x="8708736" y="9237"/>
                </a:moveTo>
                <a:cubicBezTo>
                  <a:pt x="8700269" y="2295814"/>
                  <a:pt x="8699341" y="4588125"/>
                  <a:pt x="8690874" y="6874702"/>
                </a:cubicBezTo>
                <a:lnTo>
                  <a:pt x="6585461" y="6877028"/>
                </a:lnTo>
                <a:lnTo>
                  <a:pt x="5427518" y="5882987"/>
                </a:lnTo>
                <a:cubicBezTo>
                  <a:pt x="6753610" y="3708305"/>
                  <a:pt x="4242377" y="2770621"/>
                  <a:pt x="3572741" y="2469573"/>
                </a:cubicBezTo>
                <a:cubicBezTo>
                  <a:pt x="2903105" y="2168525"/>
                  <a:pt x="533593" y="1597506"/>
                  <a:pt x="0" y="0"/>
                </a:cubicBezTo>
                <a:lnTo>
                  <a:pt x="8708736" y="923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2" dirty="0">
              <a:latin typeface="Arial" pitchFamily="34" charset="0"/>
              <a:cs typeface="Arial" pitchFamily="34" charset="0"/>
            </a:endParaRPr>
          </a:p>
        </p:txBody>
      </p:sp>
      <p:sp>
        <p:nvSpPr>
          <p:cNvPr id="9" name="Titre 1"/>
          <p:cNvSpPr>
            <a:spLocks noGrp="1"/>
          </p:cNvSpPr>
          <p:nvPr>
            <p:ph type="title" hasCustomPrompt="1"/>
            <p:custDataLst>
              <p:tags r:id="rId1"/>
            </p:custDataLst>
          </p:nvPr>
        </p:nvSpPr>
        <p:spPr>
          <a:xfrm>
            <a:off x="5613400" y="572851"/>
            <a:ext cx="6121400" cy="1199092"/>
          </a:xfrm>
          <a:prstGeom prst="rect">
            <a:avLst/>
          </a:prstGeom>
        </p:spPr>
        <p:txBody>
          <a:bodyPr vert="horz" lIns="0" tIns="33059" rIns="0" bIns="33059" rtlCol="0" anchor="ctr" anchorCtr="0">
            <a:noAutofit/>
          </a:bodyPr>
          <a:lstStyle>
            <a:lvl1pPr algn="r" defTabSz="1556000" rtl="0" eaLnBrk="1" latinLnBrk="0" hangingPunct="1">
              <a:spcBef>
                <a:spcPct val="0"/>
              </a:spcBef>
              <a:buNone/>
              <a:defRPr lang="en-US" sz="4765"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0" name="Text Placeholder 5"/>
          <p:cNvSpPr>
            <a:spLocks noGrp="1"/>
          </p:cNvSpPr>
          <p:nvPr>
            <p:ph type="body" sz="quarter" idx="10"/>
          </p:nvPr>
        </p:nvSpPr>
        <p:spPr>
          <a:xfrm>
            <a:off x="5613400" y="1878012"/>
            <a:ext cx="6121400" cy="410369"/>
          </a:xfrm>
        </p:spPr>
        <p:txBody>
          <a:bodyPr lIns="0" rIns="0"/>
          <a:lstStyle>
            <a:lvl1pPr marL="0" indent="0" algn="r">
              <a:buNone/>
              <a:defRPr sz="3403">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pic>
        <p:nvPicPr>
          <p:cNvPr id="11"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072" r="38344"/>
          <a:stretch/>
        </p:blipFill>
        <p:spPr>
          <a:xfrm>
            <a:off x="1" y="325828"/>
            <a:ext cx="6337163" cy="6532173"/>
          </a:xfrm>
          <a:prstGeom prst="rect">
            <a:avLst/>
          </a:prstGeom>
        </p:spPr>
      </p:pic>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041505" y="5852232"/>
            <a:ext cx="565808" cy="612832"/>
          </a:xfrm>
          <a:prstGeom prst="rect">
            <a:avLst/>
          </a:prstGeom>
        </p:spPr>
      </p:pic>
    </p:spTree>
    <p:extLst>
      <p:ext uri="{BB962C8B-B14F-4D97-AF65-F5344CB8AC3E}">
        <p14:creationId xmlns:p14="http://schemas.microsoft.com/office/powerpoint/2010/main" val="335036191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3_Title Only">
    <p:bg>
      <p:bgPr>
        <a:solidFill>
          <a:srgbClr val="38354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200">
                <a:solidFill>
                  <a:schemeClr val="bg1"/>
                </a:solidFill>
                <a:latin typeface="Arial Black" panose="020B0A04020102020204" pitchFamily="34" charset="0"/>
              </a:defRPr>
            </a:lvl1pPr>
          </a:lstStyle>
          <a:p>
            <a:r>
              <a:rPr lang="en-US" dirty="0"/>
              <a:t>CLICK TO EDIT MASTER TITLE STYLE</a:t>
            </a:r>
          </a:p>
        </p:txBody>
      </p:sp>
      <p:sp>
        <p:nvSpPr>
          <p:cNvPr id="4" name="Text Placeholder 3"/>
          <p:cNvSpPr>
            <a:spLocks noGrp="1"/>
          </p:cNvSpPr>
          <p:nvPr>
            <p:ph type="body" sz="quarter" idx="10"/>
          </p:nvPr>
        </p:nvSpPr>
        <p:spPr>
          <a:xfrm>
            <a:off x="838200" y="2838451"/>
            <a:ext cx="10515600" cy="1181100"/>
          </a:xfrm>
        </p:spPr>
        <p:txBody>
          <a:bodyPr anchor="ctr" anchorCtr="0">
            <a:noAutofit/>
          </a:bodyPr>
          <a:lstStyle>
            <a:lvl1pPr marL="0" indent="0">
              <a:lnSpc>
                <a:spcPct val="100000"/>
              </a:lnSpc>
              <a:spcBef>
                <a:spcPts val="0"/>
              </a:spcBef>
              <a:buNone/>
              <a:defRPr sz="5400">
                <a:solidFill>
                  <a:schemeClr val="accent1"/>
                </a:solidFill>
                <a:latin typeface="Arial Black" panose="020B0A04020102020204" pitchFamily="34" charset="0"/>
              </a:defRPr>
            </a:lvl1pPr>
            <a:lvl2pPr marL="457189" indent="0">
              <a:buNone/>
              <a:defRPr>
                <a:solidFill>
                  <a:srgbClr val="0078E3"/>
                </a:solidFill>
              </a:defRPr>
            </a:lvl2pPr>
            <a:lvl3pPr>
              <a:defRPr>
                <a:solidFill>
                  <a:srgbClr val="0078E3"/>
                </a:solidFill>
              </a:defRPr>
            </a:lvl3pPr>
            <a:lvl4pPr>
              <a:defRPr>
                <a:solidFill>
                  <a:srgbClr val="0078E3"/>
                </a:solidFill>
              </a:defRPr>
            </a:lvl4pPr>
            <a:lvl5pPr>
              <a:defRPr>
                <a:solidFill>
                  <a:srgbClr val="0078E3"/>
                </a:solidFill>
              </a:defRPr>
            </a:lvl5pPr>
          </a:lstStyle>
          <a:p>
            <a:pPr lvl="0"/>
            <a:r>
              <a:rPr lang="en-US" dirty="0"/>
              <a:t>Edit Master text styles</a:t>
            </a:r>
          </a:p>
        </p:txBody>
      </p:sp>
      <p:sp>
        <p:nvSpPr>
          <p:cNvPr id="5" name="Slide Number Placeholder 6"/>
          <p:cNvSpPr>
            <a:spLocks noGrp="1"/>
          </p:cNvSpPr>
          <p:nvPr>
            <p:ph type="sldNum" sz="quarter" idx="12"/>
          </p:nvPr>
        </p:nvSpPr>
        <p:spPr>
          <a:xfrm>
            <a:off x="11563079" y="6607589"/>
            <a:ext cx="381000" cy="313025"/>
          </a:xfrm>
          <a:prstGeom prst="rect">
            <a:avLst/>
          </a:prstGeom>
        </p:spPr>
        <p:txBody>
          <a:bodyPr/>
          <a:lstStyle>
            <a:lvl1pPr>
              <a:defRPr sz="800">
                <a:solidFill>
                  <a:schemeClr val="bg1"/>
                </a:solidFill>
              </a:defRPr>
            </a:lvl1pPr>
          </a:lstStyle>
          <a:p>
            <a:fld id="{862A3857-3B73-074D-BE70-0A543A155070}" type="slidenum">
              <a:rPr lang="en-US" smtClean="0"/>
              <a:pPr/>
              <a:t>‹#›</a:t>
            </a:fld>
            <a:endParaRPr lang="en-US" dirty="0"/>
          </a:p>
        </p:txBody>
      </p:sp>
    </p:spTree>
    <p:extLst>
      <p:ext uri="{BB962C8B-B14F-4D97-AF65-F5344CB8AC3E}">
        <p14:creationId xmlns:p14="http://schemas.microsoft.com/office/powerpoint/2010/main" val="302556818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308634"/>
            <a:ext cx="10972800" cy="1166815"/>
          </a:xfrm>
        </p:spPr>
        <p:txBody>
          <a:bodyPr/>
          <a:lstStyle>
            <a:lvl1pPr>
              <a:defRPr>
                <a:solidFill>
                  <a:schemeClr val="bg1"/>
                </a:solidFill>
              </a:defRPr>
            </a:lvl1pPr>
          </a:lstStyle>
          <a:p>
            <a:r>
              <a:rPr lang="en-US" dirty="0"/>
              <a:t>Title - Title Case, Calibri 28 </a:t>
            </a:r>
            <a:r>
              <a:rPr lang="en-US" dirty="0" err="1"/>
              <a:t>Pt</a:t>
            </a:r>
            <a:br>
              <a:rPr lang="en-US" dirty="0"/>
            </a:br>
            <a:r>
              <a:rPr lang="en-US" dirty="0"/>
              <a:t>2 Line Max</a:t>
            </a:r>
          </a:p>
        </p:txBody>
      </p:sp>
      <p:sp>
        <p:nvSpPr>
          <p:cNvPr id="5" name="Text Placeholder 8"/>
          <p:cNvSpPr>
            <a:spLocks noGrp="1"/>
          </p:cNvSpPr>
          <p:nvPr>
            <p:ph type="body" sz="quarter" idx="12"/>
          </p:nvPr>
        </p:nvSpPr>
        <p:spPr>
          <a:xfrm>
            <a:off x="613581" y="5930900"/>
            <a:ext cx="10964841" cy="273051"/>
          </a:xfrm>
        </p:spPr>
        <p:txBody>
          <a:bodyPr/>
          <a:lstStyle>
            <a:lvl1pPr marL="0" indent="0">
              <a:lnSpc>
                <a:spcPct val="100000"/>
              </a:lnSpc>
              <a:spcBef>
                <a:spcPts val="0"/>
              </a:spcBef>
              <a:spcAft>
                <a:spcPts val="0"/>
              </a:spcAft>
              <a:buNone/>
              <a:defRPr sz="1333">
                <a:solidFill>
                  <a:schemeClr val="bg1"/>
                </a:solidFill>
              </a:defRPr>
            </a:lvl1pPr>
            <a:lvl2pPr marL="524920" indent="0">
              <a:lnSpc>
                <a:spcPct val="100000"/>
              </a:lnSpc>
              <a:spcBef>
                <a:spcPts val="0"/>
              </a:spcBef>
              <a:spcAft>
                <a:spcPts val="0"/>
              </a:spcAft>
              <a:buNone/>
              <a:defRPr/>
            </a:lvl2pPr>
            <a:lvl3pPr marL="999042" indent="0">
              <a:lnSpc>
                <a:spcPct val="100000"/>
              </a:lnSpc>
              <a:spcBef>
                <a:spcPts val="0"/>
              </a:spcBef>
              <a:spcAft>
                <a:spcPts val="0"/>
              </a:spcAft>
              <a:buNone/>
              <a:defRPr/>
            </a:lvl3pPr>
            <a:lvl4pPr marL="1456230" indent="0">
              <a:lnSpc>
                <a:spcPct val="100000"/>
              </a:lnSpc>
              <a:spcBef>
                <a:spcPts val="0"/>
              </a:spcBef>
              <a:spcAft>
                <a:spcPts val="0"/>
              </a:spcAft>
              <a:buNone/>
              <a:defRPr/>
            </a:lvl4pPr>
            <a:lvl5pPr marL="1828754" indent="0">
              <a:lnSpc>
                <a:spcPct val="100000"/>
              </a:lnSpc>
              <a:spcBef>
                <a:spcPts val="0"/>
              </a:spcBef>
              <a:spcAft>
                <a:spcPts val="0"/>
              </a:spcAft>
              <a:buNone/>
              <a:defRPr/>
            </a:lvl5pPr>
          </a:lstStyle>
          <a:p>
            <a:pPr lvl="0"/>
            <a:r>
              <a:rPr lang="en-US" dirty="0"/>
              <a:t>Click to edit Master text styles</a:t>
            </a:r>
          </a:p>
        </p:txBody>
      </p:sp>
    </p:spTree>
    <p:extLst>
      <p:ext uri="{BB962C8B-B14F-4D97-AF65-F5344CB8AC3E}">
        <p14:creationId xmlns:p14="http://schemas.microsoft.com/office/powerpoint/2010/main" val="1390485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baseline="0">
                <a:solidFill>
                  <a:schemeClr val="bg1"/>
                </a:solidFill>
              </a:defRPr>
            </a:lvl1pPr>
          </a:lstStyle>
          <a:p>
            <a:endParaRPr lang="en-US" dirty="0">
              <a:solidFill>
                <a:srgbClr val="FFFFFF"/>
              </a:solidFill>
            </a:endParaRPr>
          </a:p>
        </p:txBody>
      </p:sp>
    </p:spTree>
    <p:extLst>
      <p:ext uri="{BB962C8B-B14F-4D97-AF65-F5344CB8AC3E}">
        <p14:creationId xmlns:p14="http://schemas.microsoft.com/office/powerpoint/2010/main" val="100035190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308634"/>
            <a:ext cx="10972800" cy="609334"/>
          </a:xfrm>
        </p:spPr>
        <p:txBody>
          <a:bodyPr/>
          <a:lstStyle/>
          <a:p>
            <a:r>
              <a:rPr lang="en-US"/>
              <a:t>Click to edit Master title style</a:t>
            </a:r>
          </a:p>
        </p:txBody>
      </p:sp>
    </p:spTree>
    <p:extLst>
      <p:ext uri="{BB962C8B-B14F-4D97-AF65-F5344CB8AC3E}">
        <p14:creationId xmlns:p14="http://schemas.microsoft.com/office/powerpoint/2010/main" val="1482682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Tree>
    <p:extLst>
      <p:ext uri="{BB962C8B-B14F-4D97-AF65-F5344CB8AC3E}">
        <p14:creationId xmlns:p14="http://schemas.microsoft.com/office/powerpoint/2010/main" val="15933780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Title Slide White">
    <p:bg>
      <p:bgPr>
        <a:solidFill>
          <a:schemeClr val="tx1"/>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609863" y="1678931"/>
            <a:ext cx="10889948" cy="2117503"/>
          </a:xfrm>
          <a:prstGeom prst="rect">
            <a:avLst/>
          </a:prstGeom>
        </p:spPr>
        <p:txBody>
          <a:bodyPr wrap="square" anchor="b" anchorCtr="0">
            <a:spAutoFit/>
          </a:bodyPr>
          <a:lstStyle>
            <a:lvl1pPr algn="l">
              <a:defRPr sz="7200">
                <a:solidFill>
                  <a:schemeClr val="bg1"/>
                </a:solidFill>
                <a:latin typeface="+mj-lt"/>
              </a:defRPr>
            </a:lvl1pPr>
          </a:lstStyle>
          <a:p>
            <a:r>
              <a:rPr lang="en-US" dirty="0"/>
              <a:t>Always In Title Case; </a:t>
            </a:r>
            <a:br>
              <a:rPr lang="en-US" dirty="0"/>
            </a:br>
            <a:r>
              <a:rPr lang="en-US" dirty="0"/>
              <a:t>2 Lines Preferred</a:t>
            </a:r>
          </a:p>
        </p:txBody>
      </p:sp>
      <p:sp>
        <p:nvSpPr>
          <p:cNvPr id="9" name="Text Placeholder 12"/>
          <p:cNvSpPr>
            <a:spLocks noGrp="1"/>
          </p:cNvSpPr>
          <p:nvPr>
            <p:ph type="body" sz="quarter" idx="11" hasCustomPrompt="1"/>
          </p:nvPr>
        </p:nvSpPr>
        <p:spPr bwMode="black">
          <a:xfrm>
            <a:off x="514864" y="4791849"/>
            <a:ext cx="8608155" cy="458331"/>
          </a:xfrm>
          <a:prstGeom prst="rect">
            <a:avLst/>
          </a:prstGeom>
        </p:spPr>
        <p:txBody>
          <a:bodyPr tIns="0">
            <a:spAutoFit/>
          </a:bodyPr>
          <a:lstStyle>
            <a:lvl1pPr marL="0" indent="0">
              <a:buNone/>
              <a:defRPr sz="1600" b="0">
                <a:solidFill>
                  <a:schemeClr val="bg1"/>
                </a:solidFill>
                <a:latin typeface="+mj-lt"/>
              </a:defRPr>
            </a:lvl1pPr>
          </a:lstStyle>
          <a:p>
            <a:pPr lvl="0"/>
            <a:r>
              <a:rPr lang="en-US" dirty="0"/>
              <a:t>Insert Date Here</a:t>
            </a:r>
            <a:endParaRPr lang="lt-LT" dirty="0"/>
          </a:p>
        </p:txBody>
      </p:sp>
      <p:sp>
        <p:nvSpPr>
          <p:cNvPr id="10" name="Text Placeholder 2"/>
          <p:cNvSpPr>
            <a:spLocks noGrp="1"/>
          </p:cNvSpPr>
          <p:nvPr>
            <p:ph type="body" idx="12" hasCustomPrompt="1"/>
          </p:nvPr>
        </p:nvSpPr>
        <p:spPr>
          <a:xfrm>
            <a:off x="536888" y="3759547"/>
            <a:ext cx="8607117" cy="723967"/>
          </a:xfrm>
        </p:spPr>
        <p:txBody>
          <a:bodyPr/>
          <a:lstStyle>
            <a:lvl1pPr marL="0" indent="0">
              <a:buNone/>
              <a:defRPr sz="1867" b="1">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546099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a:t>Fifth level</a:t>
            </a:r>
            <a:endParaRPr lang="en-US" dirty="0"/>
          </a:p>
        </p:txBody>
      </p:sp>
    </p:spTree>
    <p:extLst>
      <p:ext uri="{BB962C8B-B14F-4D97-AF65-F5344CB8AC3E}">
        <p14:creationId xmlns:p14="http://schemas.microsoft.com/office/powerpoint/2010/main" val="1094759790"/>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Cox QE Managed Test Services | 29</a:t>
            </a:r>
            <a:r>
              <a:rPr lang="en-US" sz="800" kern="0" baseline="30000" dirty="0">
                <a:solidFill>
                  <a:srgbClr val="00458D"/>
                </a:solidFill>
                <a:latin typeface="+mj-lt"/>
                <a:cs typeface="Arial" panose="020B0604020202020204" pitchFamily="34" charset="0"/>
              </a:rPr>
              <a:t>th</a:t>
            </a:r>
            <a:r>
              <a:rPr lang="en-US" sz="800" kern="0" dirty="0">
                <a:solidFill>
                  <a:srgbClr val="00458D"/>
                </a:solidFill>
                <a:latin typeface="+mj-lt"/>
                <a:cs typeface="Arial" panose="020B0604020202020204" pitchFamily="34" charset="0"/>
              </a:rPr>
              <a:t> Nov 2018</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3206194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50"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3"/>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6" name="Retângulo 43">
            <a:extLst>
              <a:ext uri="{FF2B5EF4-FFF2-40B4-BE49-F238E27FC236}">
                <a16:creationId xmlns:a16="http://schemas.microsoft.com/office/drawing/2014/main" id="{2B4965F1-66EE-4B64-B727-DF06FB6787BF}"/>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1CF5130D-A864-4E6E-BF1A-1057EA42ECBD}"/>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2858F03B-7A14-4DC2-863A-19A9F164EC60}"/>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AD3C2E07-6243-46B5-9149-90ECA6FED48E}"/>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30736979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962268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40"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9" Type="http://schemas.openxmlformats.org/officeDocument/2006/relationships/image" Target="../media/image3.svg"/><Relationship Id="rId21" Type="http://schemas.openxmlformats.org/officeDocument/2006/relationships/slideLayout" Target="../slideLayouts/slideLayout53.xml"/><Relationship Id="rId34" Type="http://schemas.openxmlformats.org/officeDocument/2006/relationships/tags" Target="../tags/tag4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ags" Target="../tags/tag42.xml"/><Relationship Id="rId38" Type="http://schemas.openxmlformats.org/officeDocument/2006/relationships/image" Target="../media/image2.png"/><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theme" Target="../theme/theme2.xml"/><Relationship Id="rId37" Type="http://schemas.openxmlformats.org/officeDocument/2006/relationships/image" Target="../media/image1.emf"/><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oleObject" Target="../embeddings/oleObject20.bin"/><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tags" Target="../tags/tag44.xml"/><Relationship Id="rId8" Type="http://schemas.openxmlformats.org/officeDocument/2006/relationships/slideLayout" Target="../slideLayouts/slideLayout40.xml"/><Relationship Id="rId3"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theme" Target="../theme/theme3.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42" Type="http://schemas.openxmlformats.org/officeDocument/2006/relationships/tags" Target="../tags/tag82.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tags" Target="../tags/tag80.xml"/><Relationship Id="rId45" Type="http://schemas.openxmlformats.org/officeDocument/2006/relationships/image" Target="../media/image2.png"/><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4" Type="http://schemas.openxmlformats.org/officeDocument/2006/relationships/image" Target="../media/image1.emf"/><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43" Type="http://schemas.openxmlformats.org/officeDocument/2006/relationships/oleObject" Target="../embeddings/oleObject37.bin"/><Relationship Id="rId8" Type="http://schemas.openxmlformats.org/officeDocument/2006/relationships/slideLayout" Target="../slideLayouts/slideLayout71.xml"/><Relationship Id="rId3" Type="http://schemas.openxmlformats.org/officeDocument/2006/relationships/slideLayout" Target="../slideLayouts/slideLayout66.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46" Type="http://schemas.openxmlformats.org/officeDocument/2006/relationships/image" Target="../media/image3.svg"/><Relationship Id="rId20" Type="http://schemas.openxmlformats.org/officeDocument/2006/relationships/slideLayout" Target="../slideLayouts/slideLayout83.xml"/><Relationship Id="rId41" Type="http://schemas.openxmlformats.org/officeDocument/2006/relationships/tags" Target="../tags/tag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4"/>
            </p:custDataLst>
          </p:nvPr>
        </p:nvGraphicFramePr>
        <p:xfrm>
          <a:off x="3" y="2"/>
          <a:ext cx="195384" cy="158751"/>
        </p:xfrm>
        <a:graphic>
          <a:graphicData uri="http://schemas.openxmlformats.org/presentationml/2006/ole">
            <mc:AlternateContent xmlns:mc="http://schemas.openxmlformats.org/markup-compatibility/2006">
              <mc:Choice xmlns:v="urn:schemas-microsoft-com:vml" Requires="v">
                <p:oleObj name="think-cell Slide" r:id="rId37" imgW="360" imgH="360" progId="">
                  <p:embed/>
                </p:oleObj>
              </mc:Choice>
              <mc:Fallback>
                <p:oleObj name="think-cell Slide" r:id="rId37" imgW="360" imgH="360" progId="">
                  <p:embed/>
                  <p:pic>
                    <p:nvPicPr>
                      <p:cNvPr id="8" name="Object 7"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3" y="2"/>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35"/>
            </p:custDataLst>
          </p:nvPr>
        </p:nvSpPr>
        <p:spPr>
          <a:xfrm>
            <a:off x="4" y="1"/>
            <a:ext cx="12191997" cy="1062180"/>
          </a:xfrm>
          <a:prstGeom prst="rect">
            <a:avLst/>
          </a:prstGeom>
        </p:spPr>
        <p:txBody>
          <a:bodyPr vert="horz" lIns="253554" tIns="28173" rIns="140864" bIns="28173" rtlCol="0" anchor="ctr">
            <a:noAutofit/>
          </a:bodyPr>
          <a:lstStyle/>
          <a:p>
            <a:r>
              <a:rPr lang="en-US" noProof="0" dirty="0" err="1"/>
              <a:t>Cliquez</a:t>
            </a:r>
            <a:r>
              <a:rPr lang="en-US" noProof="0" dirty="0"/>
              <a:t> pour modifier le style du </a:t>
            </a:r>
            <a:r>
              <a:rPr lang="en-US" noProof="0" dirty="0" err="1"/>
              <a:t>titre</a:t>
            </a:r>
            <a:endParaRPr lang="en-US" noProof="0" dirty="0"/>
          </a:p>
        </p:txBody>
      </p:sp>
      <p:sp>
        <p:nvSpPr>
          <p:cNvPr id="3" name="Text Placeholder 2"/>
          <p:cNvSpPr>
            <a:spLocks noGrp="1"/>
          </p:cNvSpPr>
          <p:nvPr>
            <p:ph type="body" idx="1"/>
            <p:custDataLst>
              <p:tags r:id="rId36"/>
            </p:custDataLst>
          </p:nvPr>
        </p:nvSpPr>
        <p:spPr>
          <a:xfrm>
            <a:off x="398025" y="1501978"/>
            <a:ext cx="11616153" cy="4636540"/>
          </a:xfrm>
          <a:prstGeom prst="rect">
            <a:avLst/>
          </a:prstGeom>
        </p:spPr>
        <p:txBody>
          <a:bodyPr vert="horz" lIns="92038" tIns="61358" rIns="61358" bIns="61358"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7" name="Line 7"/>
          <p:cNvSpPr>
            <a:spLocks noChangeShapeType="1"/>
          </p:cNvSpPr>
          <p:nvPr userDrawn="1"/>
        </p:nvSpPr>
        <p:spPr bwMode="gray">
          <a:xfrm>
            <a:off x="11588749" y="6450414"/>
            <a:ext cx="0" cy="319616"/>
          </a:xfrm>
          <a:prstGeom prst="line">
            <a:avLst/>
          </a:prstGeom>
          <a:noFill/>
          <a:ln w="9525">
            <a:solidFill>
              <a:srgbClr val="969696"/>
            </a:solidFill>
            <a:round/>
            <a:headEnd/>
            <a:tailEnd/>
          </a:ln>
          <a:effectLst/>
        </p:spPr>
        <p:txBody>
          <a:bodyPr wrap="none" anchor="ctr"/>
          <a:lstStyle/>
          <a:p>
            <a:endParaRPr lang="en-US" sz="2723" dirty="0">
              <a:solidFill>
                <a:schemeClr val="tx2"/>
              </a:solidFill>
              <a:latin typeface="+mj-lt"/>
            </a:endParaRPr>
          </a:p>
        </p:txBody>
      </p:sp>
      <p:sp>
        <p:nvSpPr>
          <p:cNvPr id="18" name="Text Box 8"/>
          <p:cNvSpPr txBox="1">
            <a:spLocks noChangeArrowheads="1"/>
          </p:cNvSpPr>
          <p:nvPr userDrawn="1"/>
        </p:nvSpPr>
        <p:spPr bwMode="gray">
          <a:xfrm>
            <a:off x="11588754" y="6448296"/>
            <a:ext cx="510718"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mj-lt"/>
              </a:rPr>
              <a:pPr eaLnBrk="0" hangingPunct="0">
                <a:lnSpc>
                  <a:spcPct val="85000"/>
                </a:lnSpc>
              </a:pPr>
              <a:t>‹#›</a:t>
            </a:fld>
            <a:endParaRPr lang="en-US" sz="800" dirty="0">
              <a:solidFill>
                <a:srgbClr val="969696"/>
              </a:solidFill>
              <a:latin typeface="+mj-lt"/>
            </a:endParaRPr>
          </a:p>
        </p:txBody>
      </p:sp>
      <p:sp>
        <p:nvSpPr>
          <p:cNvPr id="19" name="Text Box 9"/>
          <p:cNvSpPr txBox="1">
            <a:spLocks noChangeArrowheads="1"/>
          </p:cNvSpPr>
          <p:nvPr userDrawn="1"/>
        </p:nvSpPr>
        <p:spPr bwMode="gray">
          <a:xfrm>
            <a:off x="5475819" y="6508399"/>
            <a:ext cx="6068484" cy="203645"/>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51" dirty="0">
                <a:solidFill>
                  <a:schemeClr val="tx2"/>
                </a:solidFill>
                <a:latin typeface="+mj-lt"/>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9">
            <a:extLst>
              <a:ext uri="{96DAC541-7B7A-43D3-8B79-37D633B846F1}">
                <asvg:svgBlip xmlns:asvg="http://schemas.microsoft.com/office/drawing/2016/SVG/main" r:embed="rId40"/>
              </a:ext>
            </a:extLst>
          </a:blip>
          <a:stretch>
            <a:fillRect/>
          </a:stretch>
        </p:blipFill>
        <p:spPr>
          <a:xfrm>
            <a:off x="306832" y="6429450"/>
            <a:ext cx="1412969" cy="315238"/>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4029" r:id="rId2"/>
    <p:sldLayoutId id="2147484030" r:id="rId3"/>
    <p:sldLayoutId id="2147484031" r:id="rId4"/>
    <p:sldLayoutId id="2147483993" r:id="rId5"/>
    <p:sldLayoutId id="2147483990" r:id="rId6"/>
    <p:sldLayoutId id="2147483958" r:id="rId7"/>
    <p:sldLayoutId id="2147483986" r:id="rId8"/>
    <p:sldLayoutId id="2147483971" r:id="rId9"/>
    <p:sldLayoutId id="2147483987" r:id="rId10"/>
    <p:sldLayoutId id="2147483965" r:id="rId11"/>
    <p:sldLayoutId id="2147484012" r:id="rId12"/>
    <p:sldLayoutId id="2147483995" r:id="rId13"/>
    <p:sldLayoutId id="2147484022" r:id="rId14"/>
    <p:sldLayoutId id="2147484013" r:id="rId15"/>
    <p:sldLayoutId id="2147483966" r:id="rId16"/>
    <p:sldLayoutId id="2147483996" r:id="rId17"/>
    <p:sldLayoutId id="2147483997" r:id="rId18"/>
    <p:sldLayoutId id="2147483934" r:id="rId19"/>
    <p:sldLayoutId id="2147484014" r:id="rId20"/>
    <p:sldLayoutId id="2147484019" r:id="rId21"/>
    <p:sldLayoutId id="2147484023" r:id="rId22"/>
    <p:sldLayoutId id="2147484027" r:id="rId23"/>
    <p:sldLayoutId id="2147484024" r:id="rId24"/>
    <p:sldLayoutId id="2147484025" r:id="rId25"/>
    <p:sldLayoutId id="2147484028" r:id="rId26"/>
    <p:sldLayoutId id="2147484034" r:id="rId27"/>
    <p:sldLayoutId id="2147484035" r:id="rId28"/>
    <p:sldLayoutId id="2147484036" r:id="rId29"/>
    <p:sldLayoutId id="2147484038" r:id="rId30"/>
    <p:sldLayoutId id="2147484039" r:id="rId31"/>
    <p:sldLayoutId id="2147484121" r:id="rId32"/>
  </p:sldLayoutIdLst>
  <p:txStyles>
    <p:titleStyle>
      <a:lvl1pPr algn="l" defTabSz="1326023" rtl="0" eaLnBrk="1" latinLnBrk="0" hangingPunct="1">
        <a:lnSpc>
          <a:spcPct val="85000"/>
        </a:lnSpc>
        <a:spcBef>
          <a:spcPct val="0"/>
        </a:spcBef>
        <a:buNone/>
        <a:defRPr sz="2723" b="0" kern="1200" spc="-119" baseline="0">
          <a:solidFill>
            <a:schemeClr val="tx2"/>
          </a:solidFill>
          <a:latin typeface="Segoe UI" panose="020B0502040204020203" pitchFamily="34" charset="0"/>
          <a:ea typeface="Verdana" panose="020B0604030504040204" pitchFamily="34" charset="0"/>
          <a:cs typeface="Segoe UI" panose="020B0502040204020203" pitchFamily="34" charset="0"/>
        </a:defRPr>
      </a:lvl1pPr>
    </p:titleStyle>
    <p:bodyStyle>
      <a:lvl1pPr marL="386324" indent="-386324" algn="l" defTabSz="1326023" rtl="0" eaLnBrk="1" latinLnBrk="0" hangingPunct="1">
        <a:lnSpc>
          <a:spcPct val="90000"/>
        </a:lnSpc>
        <a:spcBef>
          <a:spcPts val="0"/>
        </a:spcBef>
        <a:spcAft>
          <a:spcPts val="870"/>
        </a:spcAft>
        <a:buClr>
          <a:schemeClr val="accent2"/>
        </a:buClr>
        <a:buFont typeface="Wingdings" pitchFamily="2" charset="2"/>
        <a:buChar char="§"/>
        <a:defRPr sz="2723" b="0" kern="1200" spc="-119" baseline="0">
          <a:solidFill>
            <a:schemeClr val="tx1"/>
          </a:solidFill>
          <a:latin typeface="Segoe UI" panose="020B0502040204020203" pitchFamily="34" charset="0"/>
          <a:ea typeface="Verdana" panose="020B0604030504040204" pitchFamily="34" charset="0"/>
          <a:cs typeface="Segoe UI" panose="020B0502040204020203" pitchFamily="34" charset="0"/>
        </a:defRPr>
      </a:lvl1pPr>
      <a:lvl2pPr marL="786155" indent="-372816" algn="l" defTabSz="1326023" rtl="0" eaLnBrk="1" latinLnBrk="0" hangingPunct="1">
        <a:lnSpc>
          <a:spcPct val="90000"/>
        </a:lnSpc>
        <a:spcBef>
          <a:spcPts val="0"/>
        </a:spcBef>
        <a:spcAft>
          <a:spcPts val="870"/>
        </a:spcAft>
        <a:buClr>
          <a:schemeClr val="accent2"/>
        </a:buClr>
        <a:buFont typeface="Arial" panose="020B0604020202020204" pitchFamily="34" charset="0"/>
        <a:buChar char="–"/>
        <a:defRPr sz="2042" kern="1200" spc="-119" baseline="0">
          <a:solidFill>
            <a:schemeClr val="tx1"/>
          </a:solidFill>
          <a:latin typeface="Segoe UI" panose="020B0502040204020203" pitchFamily="34" charset="0"/>
          <a:ea typeface="Verdana" panose="020B0604030504040204" pitchFamily="34" charset="0"/>
          <a:cs typeface="Segoe UI" panose="020B0502040204020203" pitchFamily="34" charset="0"/>
        </a:defRPr>
      </a:lvl2pPr>
      <a:lvl3pPr marL="1075222" indent="-237737" algn="l" defTabSz="1326023" rtl="0" eaLnBrk="1" latinLnBrk="0" hangingPunct="1">
        <a:lnSpc>
          <a:spcPct val="90000"/>
        </a:lnSpc>
        <a:spcBef>
          <a:spcPts val="0"/>
        </a:spcBef>
        <a:spcAft>
          <a:spcPts val="870"/>
        </a:spcAft>
        <a:buClr>
          <a:schemeClr val="accent2"/>
        </a:buClr>
        <a:buFont typeface="Arial" pitchFamily="34" charset="0"/>
        <a:buChar char="•"/>
        <a:defRPr sz="1872" kern="1200" spc="-119" baseline="0">
          <a:solidFill>
            <a:schemeClr val="tx1"/>
          </a:solidFill>
          <a:latin typeface="Segoe UI" panose="020B0502040204020203" pitchFamily="34" charset="0"/>
          <a:ea typeface="Verdana" panose="020B0604030504040204" pitchFamily="34" charset="0"/>
          <a:cs typeface="Segoe UI" panose="020B0502040204020203" pitchFamily="34" charset="0"/>
        </a:defRPr>
      </a:lvl3pPr>
      <a:lvl4pPr marL="1364290" indent="-237737" algn="l" defTabSz="1326023" rtl="0" eaLnBrk="1" latinLnBrk="0" hangingPunct="1">
        <a:lnSpc>
          <a:spcPct val="90000"/>
        </a:lnSpc>
        <a:spcBef>
          <a:spcPts val="0"/>
        </a:spcBef>
        <a:spcAft>
          <a:spcPts val="870"/>
        </a:spcAft>
        <a:buClr>
          <a:schemeClr val="accent2"/>
        </a:buClr>
        <a:buFont typeface="Courier New" panose="02070309020205020404" pitchFamily="49" charset="0"/>
        <a:buChar char="o"/>
        <a:defRPr sz="1787" kern="1200" spc="-119" baseline="0">
          <a:solidFill>
            <a:schemeClr val="tx1"/>
          </a:solidFill>
          <a:latin typeface="Segoe UI" panose="020B0502040204020203" pitchFamily="34" charset="0"/>
          <a:ea typeface="Verdana" panose="020B0604030504040204" pitchFamily="34" charset="0"/>
          <a:cs typeface="Segoe UI" panose="020B0502040204020203" pitchFamily="34" charset="0"/>
        </a:defRPr>
      </a:lvl4pPr>
      <a:lvl5pPr marL="2334356" indent="-280860" algn="l" defTabSz="1326023" rtl="0" eaLnBrk="1" latinLnBrk="0" hangingPunct="1">
        <a:spcBef>
          <a:spcPts val="0"/>
        </a:spcBef>
        <a:buClr>
          <a:srgbClr val="B1B1B1"/>
        </a:buClr>
        <a:buFont typeface="Arial" pitchFamily="34" charset="0"/>
        <a:buChar char="–"/>
        <a:defRPr sz="2382" kern="1200">
          <a:solidFill>
            <a:srgbClr val="494949"/>
          </a:solidFill>
          <a:latin typeface="+mn-lt"/>
          <a:ea typeface="+mn-ea"/>
          <a:cs typeface="+mn-cs"/>
        </a:defRPr>
      </a:lvl5pPr>
      <a:lvl6pPr marL="3646567" indent="-331507" algn="l" defTabSz="1326023" rtl="0" eaLnBrk="1" latinLnBrk="0" hangingPunct="1">
        <a:spcBef>
          <a:spcPct val="20000"/>
        </a:spcBef>
        <a:buFont typeface="Arial" pitchFamily="34" charset="0"/>
        <a:buChar char="•"/>
        <a:defRPr sz="2893" kern="1200">
          <a:solidFill>
            <a:schemeClr val="tx1"/>
          </a:solidFill>
          <a:latin typeface="+mn-lt"/>
          <a:ea typeface="+mn-ea"/>
          <a:cs typeface="+mn-cs"/>
        </a:defRPr>
      </a:lvl6pPr>
      <a:lvl7pPr marL="4309578" indent="-331507" algn="l" defTabSz="1326023" rtl="0" eaLnBrk="1" latinLnBrk="0" hangingPunct="1">
        <a:spcBef>
          <a:spcPct val="20000"/>
        </a:spcBef>
        <a:buFont typeface="Arial" pitchFamily="34" charset="0"/>
        <a:buChar char="•"/>
        <a:defRPr sz="2893" kern="1200">
          <a:solidFill>
            <a:schemeClr val="tx1"/>
          </a:solidFill>
          <a:latin typeface="+mn-lt"/>
          <a:ea typeface="+mn-ea"/>
          <a:cs typeface="+mn-cs"/>
        </a:defRPr>
      </a:lvl7pPr>
      <a:lvl8pPr marL="4972589" indent="-331507" algn="l" defTabSz="1326023" rtl="0" eaLnBrk="1" latinLnBrk="0" hangingPunct="1">
        <a:spcBef>
          <a:spcPct val="20000"/>
        </a:spcBef>
        <a:buFont typeface="Arial" pitchFamily="34" charset="0"/>
        <a:buChar char="•"/>
        <a:defRPr sz="2893" kern="1200">
          <a:solidFill>
            <a:schemeClr val="tx1"/>
          </a:solidFill>
          <a:latin typeface="+mn-lt"/>
          <a:ea typeface="+mn-ea"/>
          <a:cs typeface="+mn-cs"/>
        </a:defRPr>
      </a:lvl8pPr>
      <a:lvl9pPr marL="5635601" indent="-331507" algn="l" defTabSz="1326023" rtl="0" eaLnBrk="1" latinLnBrk="0" hangingPunct="1">
        <a:spcBef>
          <a:spcPct val="20000"/>
        </a:spcBef>
        <a:buFont typeface="Arial" pitchFamily="34" charset="0"/>
        <a:buChar char="•"/>
        <a:defRPr sz="2893" kern="1200">
          <a:solidFill>
            <a:schemeClr val="tx1"/>
          </a:solidFill>
          <a:latin typeface="+mn-lt"/>
          <a:ea typeface="+mn-ea"/>
          <a:cs typeface="+mn-cs"/>
        </a:defRPr>
      </a:lvl9pPr>
    </p:bodyStyle>
    <p:otherStyle>
      <a:defPPr>
        <a:defRPr lang="fr-FR"/>
      </a:defPPr>
      <a:lvl1pPr marL="0" algn="l" defTabSz="1326023" rtl="0" eaLnBrk="1" latinLnBrk="0" hangingPunct="1">
        <a:defRPr sz="2553" kern="1200">
          <a:solidFill>
            <a:schemeClr val="tx1"/>
          </a:solidFill>
          <a:latin typeface="+mn-lt"/>
          <a:ea typeface="+mn-ea"/>
          <a:cs typeface="+mn-cs"/>
        </a:defRPr>
      </a:lvl1pPr>
      <a:lvl2pPr marL="663012" algn="l" defTabSz="1326023" rtl="0" eaLnBrk="1" latinLnBrk="0" hangingPunct="1">
        <a:defRPr sz="2553" kern="1200">
          <a:solidFill>
            <a:schemeClr val="tx1"/>
          </a:solidFill>
          <a:latin typeface="+mn-lt"/>
          <a:ea typeface="+mn-ea"/>
          <a:cs typeface="+mn-cs"/>
        </a:defRPr>
      </a:lvl2pPr>
      <a:lvl3pPr marL="1326023" algn="l" defTabSz="1326023" rtl="0" eaLnBrk="1" latinLnBrk="0" hangingPunct="1">
        <a:defRPr sz="2553" kern="1200">
          <a:solidFill>
            <a:schemeClr val="tx1"/>
          </a:solidFill>
          <a:latin typeface="+mn-lt"/>
          <a:ea typeface="+mn-ea"/>
          <a:cs typeface="+mn-cs"/>
        </a:defRPr>
      </a:lvl3pPr>
      <a:lvl4pPr marL="1989034" algn="l" defTabSz="1326023" rtl="0" eaLnBrk="1" latinLnBrk="0" hangingPunct="1">
        <a:defRPr sz="2553" kern="1200">
          <a:solidFill>
            <a:schemeClr val="tx1"/>
          </a:solidFill>
          <a:latin typeface="+mn-lt"/>
          <a:ea typeface="+mn-ea"/>
          <a:cs typeface="+mn-cs"/>
        </a:defRPr>
      </a:lvl4pPr>
      <a:lvl5pPr marL="2652049" algn="l" defTabSz="1326023" rtl="0" eaLnBrk="1" latinLnBrk="0" hangingPunct="1">
        <a:defRPr sz="2553" kern="1200">
          <a:solidFill>
            <a:schemeClr val="tx1"/>
          </a:solidFill>
          <a:latin typeface="+mn-lt"/>
          <a:ea typeface="+mn-ea"/>
          <a:cs typeface="+mn-cs"/>
        </a:defRPr>
      </a:lvl5pPr>
      <a:lvl6pPr marL="3315060" algn="l" defTabSz="1326023" rtl="0" eaLnBrk="1" latinLnBrk="0" hangingPunct="1">
        <a:defRPr sz="2553" kern="1200">
          <a:solidFill>
            <a:schemeClr val="tx1"/>
          </a:solidFill>
          <a:latin typeface="+mn-lt"/>
          <a:ea typeface="+mn-ea"/>
          <a:cs typeface="+mn-cs"/>
        </a:defRPr>
      </a:lvl6pPr>
      <a:lvl7pPr marL="3978072" algn="l" defTabSz="1326023" rtl="0" eaLnBrk="1" latinLnBrk="0" hangingPunct="1">
        <a:defRPr sz="2553" kern="1200">
          <a:solidFill>
            <a:schemeClr val="tx1"/>
          </a:solidFill>
          <a:latin typeface="+mn-lt"/>
          <a:ea typeface="+mn-ea"/>
          <a:cs typeface="+mn-cs"/>
        </a:defRPr>
      </a:lvl7pPr>
      <a:lvl8pPr marL="4641084" algn="l" defTabSz="1326023" rtl="0" eaLnBrk="1" latinLnBrk="0" hangingPunct="1">
        <a:defRPr sz="2553" kern="1200">
          <a:solidFill>
            <a:schemeClr val="tx1"/>
          </a:solidFill>
          <a:latin typeface="+mn-lt"/>
          <a:ea typeface="+mn-ea"/>
          <a:cs typeface="+mn-cs"/>
        </a:defRPr>
      </a:lvl8pPr>
      <a:lvl9pPr marL="5304096" algn="l" defTabSz="1326023" rtl="0" eaLnBrk="1" latinLnBrk="0" hangingPunct="1">
        <a:defRPr sz="255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3"/>
            </p:custDataLst>
          </p:nvPr>
        </p:nvGraphicFramePr>
        <p:xfrm>
          <a:off x="3" y="2"/>
          <a:ext cx="195384" cy="158751"/>
        </p:xfrm>
        <a:graphic>
          <a:graphicData uri="http://schemas.openxmlformats.org/presentationml/2006/ole">
            <mc:AlternateContent xmlns:mc="http://schemas.openxmlformats.org/markup-compatibility/2006">
              <mc:Choice xmlns:v="urn:schemas-microsoft-com:vml" Requires="v">
                <p:oleObj name="think-cell Slide" r:id="rId36" imgW="360" imgH="360" progId="">
                  <p:embed/>
                </p:oleObj>
              </mc:Choice>
              <mc:Fallback>
                <p:oleObj name="think-cell Slide" r:id="rId36" imgW="360" imgH="360" progId="">
                  <p:embed/>
                  <p:pic>
                    <p:nvPicPr>
                      <p:cNvPr id="8" name="Object 7" hidden="1"/>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 y="2"/>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34"/>
            </p:custDataLst>
          </p:nvPr>
        </p:nvSpPr>
        <p:spPr>
          <a:xfrm>
            <a:off x="4" y="1"/>
            <a:ext cx="12191997" cy="1062180"/>
          </a:xfrm>
          <a:prstGeom prst="rect">
            <a:avLst/>
          </a:prstGeom>
        </p:spPr>
        <p:txBody>
          <a:bodyPr vert="horz" lIns="253554" tIns="28173" rIns="140864" bIns="28173" rtlCol="0" anchor="ctr">
            <a:noAutofit/>
          </a:bodyPr>
          <a:lstStyle/>
          <a:p>
            <a:r>
              <a:rPr lang="en-US" noProof="0" dirty="0" err="1"/>
              <a:t>Cliquez</a:t>
            </a:r>
            <a:r>
              <a:rPr lang="en-US" noProof="0" dirty="0"/>
              <a:t> pour modifier le style du </a:t>
            </a:r>
            <a:r>
              <a:rPr lang="en-US" noProof="0" dirty="0" err="1"/>
              <a:t>titre</a:t>
            </a:r>
            <a:endParaRPr lang="en-US" noProof="0" dirty="0"/>
          </a:p>
        </p:txBody>
      </p:sp>
      <p:sp>
        <p:nvSpPr>
          <p:cNvPr id="3" name="Text Placeholder 2"/>
          <p:cNvSpPr>
            <a:spLocks noGrp="1"/>
          </p:cNvSpPr>
          <p:nvPr>
            <p:ph type="body" idx="1"/>
            <p:custDataLst>
              <p:tags r:id="rId35"/>
            </p:custDataLst>
          </p:nvPr>
        </p:nvSpPr>
        <p:spPr>
          <a:xfrm>
            <a:off x="398025" y="1501978"/>
            <a:ext cx="11616153" cy="4636540"/>
          </a:xfrm>
          <a:prstGeom prst="rect">
            <a:avLst/>
          </a:prstGeom>
        </p:spPr>
        <p:txBody>
          <a:bodyPr vert="horz" lIns="92038" tIns="61358" rIns="61358" bIns="61358"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7" name="Line 7"/>
          <p:cNvSpPr>
            <a:spLocks noChangeShapeType="1"/>
          </p:cNvSpPr>
          <p:nvPr userDrawn="1"/>
        </p:nvSpPr>
        <p:spPr bwMode="gray">
          <a:xfrm>
            <a:off x="11588749" y="6450414"/>
            <a:ext cx="0" cy="319616"/>
          </a:xfrm>
          <a:prstGeom prst="line">
            <a:avLst/>
          </a:prstGeom>
          <a:noFill/>
          <a:ln w="9525">
            <a:solidFill>
              <a:srgbClr val="969696"/>
            </a:solidFill>
            <a:round/>
            <a:headEnd/>
            <a:tailEnd/>
          </a:ln>
          <a:effectLst/>
        </p:spPr>
        <p:txBody>
          <a:bodyPr wrap="none" anchor="ctr"/>
          <a:lstStyle/>
          <a:p>
            <a:endParaRPr lang="en-US" sz="2723" dirty="0">
              <a:solidFill>
                <a:schemeClr val="tx2"/>
              </a:solidFill>
              <a:latin typeface="+mj-lt"/>
            </a:endParaRPr>
          </a:p>
        </p:txBody>
      </p:sp>
      <p:sp>
        <p:nvSpPr>
          <p:cNvPr id="18" name="Text Box 8"/>
          <p:cNvSpPr txBox="1">
            <a:spLocks noChangeArrowheads="1"/>
          </p:cNvSpPr>
          <p:nvPr userDrawn="1"/>
        </p:nvSpPr>
        <p:spPr bwMode="gray">
          <a:xfrm>
            <a:off x="11588754" y="6448296"/>
            <a:ext cx="510718"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mj-lt"/>
              </a:rPr>
              <a:pPr eaLnBrk="0" hangingPunct="0">
                <a:lnSpc>
                  <a:spcPct val="85000"/>
                </a:lnSpc>
              </a:pPr>
              <a:t>‹#›</a:t>
            </a:fld>
            <a:endParaRPr lang="en-US" sz="800" dirty="0">
              <a:solidFill>
                <a:srgbClr val="969696"/>
              </a:solidFill>
              <a:latin typeface="+mj-lt"/>
            </a:endParaRPr>
          </a:p>
        </p:txBody>
      </p:sp>
      <p:sp>
        <p:nvSpPr>
          <p:cNvPr id="19" name="Text Box 9"/>
          <p:cNvSpPr txBox="1">
            <a:spLocks noChangeArrowheads="1"/>
          </p:cNvSpPr>
          <p:nvPr userDrawn="1"/>
        </p:nvSpPr>
        <p:spPr bwMode="gray">
          <a:xfrm>
            <a:off x="5475819" y="6508399"/>
            <a:ext cx="6068484" cy="203645"/>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51" dirty="0">
                <a:solidFill>
                  <a:schemeClr val="tx2"/>
                </a:solidFill>
                <a:latin typeface="+mj-lt"/>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8">
            <a:extLst>
              <a:ext uri="{96DAC541-7B7A-43D3-8B79-37D633B846F1}">
                <asvg:svgBlip xmlns:asvg="http://schemas.microsoft.com/office/drawing/2016/SVG/main" r:embed="rId39"/>
              </a:ext>
            </a:extLst>
          </a:blip>
          <a:stretch>
            <a:fillRect/>
          </a:stretch>
        </p:blipFill>
        <p:spPr>
          <a:xfrm>
            <a:off x="306832" y="6429450"/>
            <a:ext cx="1412969" cy="315238"/>
          </a:xfrm>
          <a:prstGeom prst="rect">
            <a:avLst/>
          </a:prstGeom>
        </p:spPr>
      </p:pic>
    </p:spTree>
    <p:extLst>
      <p:ext uri="{BB962C8B-B14F-4D97-AF65-F5344CB8AC3E}">
        <p14:creationId xmlns:p14="http://schemas.microsoft.com/office/powerpoint/2010/main" val="4183707570"/>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 id="2147484060" r:id="rId13"/>
    <p:sldLayoutId id="2147484061" r:id="rId14"/>
    <p:sldLayoutId id="2147484062" r:id="rId15"/>
    <p:sldLayoutId id="2147484063" r:id="rId16"/>
    <p:sldLayoutId id="2147484064" r:id="rId17"/>
    <p:sldLayoutId id="2147484065" r:id="rId18"/>
    <p:sldLayoutId id="2147484066" r:id="rId19"/>
    <p:sldLayoutId id="2147484068" r:id="rId20"/>
    <p:sldLayoutId id="2147484069" r:id="rId21"/>
    <p:sldLayoutId id="2147484070" r:id="rId22"/>
    <p:sldLayoutId id="2147484071" r:id="rId23"/>
    <p:sldLayoutId id="2147484072" r:id="rId24"/>
    <p:sldLayoutId id="2147484073" r:id="rId25"/>
    <p:sldLayoutId id="2147484074" r:id="rId26"/>
    <p:sldLayoutId id="2147484075" r:id="rId27"/>
    <p:sldLayoutId id="2147484076" r:id="rId28"/>
    <p:sldLayoutId id="2147484077" r:id="rId29"/>
    <p:sldLayoutId id="2147484078" r:id="rId30"/>
    <p:sldLayoutId id="2147484079" r:id="rId31"/>
  </p:sldLayoutIdLst>
  <p:txStyles>
    <p:titleStyle>
      <a:lvl1pPr algn="l" defTabSz="1326023" rtl="0" eaLnBrk="1" latinLnBrk="0" hangingPunct="1">
        <a:lnSpc>
          <a:spcPct val="85000"/>
        </a:lnSpc>
        <a:spcBef>
          <a:spcPct val="0"/>
        </a:spcBef>
        <a:buNone/>
        <a:defRPr sz="2723" b="0" kern="1200" spc="-119" baseline="0">
          <a:solidFill>
            <a:schemeClr val="tx2"/>
          </a:solidFill>
          <a:latin typeface="Segoe UI" panose="020B0502040204020203" pitchFamily="34" charset="0"/>
          <a:ea typeface="Verdana" panose="020B0604030504040204" pitchFamily="34" charset="0"/>
          <a:cs typeface="Segoe UI" panose="020B0502040204020203" pitchFamily="34" charset="0"/>
        </a:defRPr>
      </a:lvl1pPr>
    </p:titleStyle>
    <p:bodyStyle>
      <a:lvl1pPr marL="386324" indent="-386324" algn="l" defTabSz="1326023" rtl="0" eaLnBrk="1" latinLnBrk="0" hangingPunct="1">
        <a:lnSpc>
          <a:spcPct val="90000"/>
        </a:lnSpc>
        <a:spcBef>
          <a:spcPts val="0"/>
        </a:spcBef>
        <a:spcAft>
          <a:spcPts val="870"/>
        </a:spcAft>
        <a:buClr>
          <a:schemeClr val="accent2"/>
        </a:buClr>
        <a:buFont typeface="Wingdings" pitchFamily="2" charset="2"/>
        <a:buChar char="§"/>
        <a:defRPr sz="2723" b="0" kern="1200" spc="-119" baseline="0">
          <a:solidFill>
            <a:schemeClr val="tx1"/>
          </a:solidFill>
          <a:latin typeface="Segoe UI" panose="020B0502040204020203" pitchFamily="34" charset="0"/>
          <a:ea typeface="Verdana" panose="020B0604030504040204" pitchFamily="34" charset="0"/>
          <a:cs typeface="Segoe UI" panose="020B0502040204020203" pitchFamily="34" charset="0"/>
        </a:defRPr>
      </a:lvl1pPr>
      <a:lvl2pPr marL="786155" indent="-372816" algn="l" defTabSz="1326023" rtl="0" eaLnBrk="1" latinLnBrk="0" hangingPunct="1">
        <a:lnSpc>
          <a:spcPct val="90000"/>
        </a:lnSpc>
        <a:spcBef>
          <a:spcPts val="0"/>
        </a:spcBef>
        <a:spcAft>
          <a:spcPts val="870"/>
        </a:spcAft>
        <a:buClr>
          <a:schemeClr val="accent2"/>
        </a:buClr>
        <a:buFont typeface="Arial" panose="020B0604020202020204" pitchFamily="34" charset="0"/>
        <a:buChar char="–"/>
        <a:defRPr sz="2042" kern="1200" spc="-119" baseline="0">
          <a:solidFill>
            <a:schemeClr val="tx1"/>
          </a:solidFill>
          <a:latin typeface="Segoe UI" panose="020B0502040204020203" pitchFamily="34" charset="0"/>
          <a:ea typeface="Verdana" panose="020B0604030504040204" pitchFamily="34" charset="0"/>
          <a:cs typeface="Segoe UI" panose="020B0502040204020203" pitchFamily="34" charset="0"/>
        </a:defRPr>
      </a:lvl2pPr>
      <a:lvl3pPr marL="1075222" indent="-237737" algn="l" defTabSz="1326023" rtl="0" eaLnBrk="1" latinLnBrk="0" hangingPunct="1">
        <a:lnSpc>
          <a:spcPct val="90000"/>
        </a:lnSpc>
        <a:spcBef>
          <a:spcPts val="0"/>
        </a:spcBef>
        <a:spcAft>
          <a:spcPts val="870"/>
        </a:spcAft>
        <a:buClr>
          <a:schemeClr val="accent2"/>
        </a:buClr>
        <a:buFont typeface="Arial" pitchFamily="34" charset="0"/>
        <a:buChar char="•"/>
        <a:defRPr sz="1872" kern="1200" spc="-119" baseline="0">
          <a:solidFill>
            <a:schemeClr val="tx1"/>
          </a:solidFill>
          <a:latin typeface="Segoe UI" panose="020B0502040204020203" pitchFamily="34" charset="0"/>
          <a:ea typeface="Verdana" panose="020B0604030504040204" pitchFamily="34" charset="0"/>
          <a:cs typeface="Segoe UI" panose="020B0502040204020203" pitchFamily="34" charset="0"/>
        </a:defRPr>
      </a:lvl3pPr>
      <a:lvl4pPr marL="1364290" indent="-237737" algn="l" defTabSz="1326023" rtl="0" eaLnBrk="1" latinLnBrk="0" hangingPunct="1">
        <a:lnSpc>
          <a:spcPct val="90000"/>
        </a:lnSpc>
        <a:spcBef>
          <a:spcPts val="0"/>
        </a:spcBef>
        <a:spcAft>
          <a:spcPts val="870"/>
        </a:spcAft>
        <a:buClr>
          <a:schemeClr val="accent2"/>
        </a:buClr>
        <a:buFont typeface="Courier New" panose="02070309020205020404" pitchFamily="49" charset="0"/>
        <a:buChar char="o"/>
        <a:defRPr sz="1787" kern="1200" spc="-119" baseline="0">
          <a:solidFill>
            <a:schemeClr val="tx1"/>
          </a:solidFill>
          <a:latin typeface="Segoe UI" panose="020B0502040204020203" pitchFamily="34" charset="0"/>
          <a:ea typeface="Verdana" panose="020B0604030504040204" pitchFamily="34" charset="0"/>
          <a:cs typeface="Segoe UI" panose="020B0502040204020203" pitchFamily="34" charset="0"/>
        </a:defRPr>
      </a:lvl4pPr>
      <a:lvl5pPr marL="2334356" indent="-280860" algn="l" defTabSz="1326023" rtl="0" eaLnBrk="1" latinLnBrk="0" hangingPunct="1">
        <a:spcBef>
          <a:spcPts val="0"/>
        </a:spcBef>
        <a:buClr>
          <a:srgbClr val="B1B1B1"/>
        </a:buClr>
        <a:buFont typeface="Arial" pitchFamily="34" charset="0"/>
        <a:buChar char="–"/>
        <a:defRPr sz="2382" kern="1200">
          <a:solidFill>
            <a:srgbClr val="494949"/>
          </a:solidFill>
          <a:latin typeface="+mn-lt"/>
          <a:ea typeface="+mn-ea"/>
          <a:cs typeface="+mn-cs"/>
        </a:defRPr>
      </a:lvl5pPr>
      <a:lvl6pPr marL="3646567" indent="-331507" algn="l" defTabSz="1326023" rtl="0" eaLnBrk="1" latinLnBrk="0" hangingPunct="1">
        <a:spcBef>
          <a:spcPct val="20000"/>
        </a:spcBef>
        <a:buFont typeface="Arial" pitchFamily="34" charset="0"/>
        <a:buChar char="•"/>
        <a:defRPr sz="2893" kern="1200">
          <a:solidFill>
            <a:schemeClr val="tx1"/>
          </a:solidFill>
          <a:latin typeface="+mn-lt"/>
          <a:ea typeface="+mn-ea"/>
          <a:cs typeface="+mn-cs"/>
        </a:defRPr>
      </a:lvl6pPr>
      <a:lvl7pPr marL="4309578" indent="-331507" algn="l" defTabSz="1326023" rtl="0" eaLnBrk="1" latinLnBrk="0" hangingPunct="1">
        <a:spcBef>
          <a:spcPct val="20000"/>
        </a:spcBef>
        <a:buFont typeface="Arial" pitchFamily="34" charset="0"/>
        <a:buChar char="•"/>
        <a:defRPr sz="2893" kern="1200">
          <a:solidFill>
            <a:schemeClr val="tx1"/>
          </a:solidFill>
          <a:latin typeface="+mn-lt"/>
          <a:ea typeface="+mn-ea"/>
          <a:cs typeface="+mn-cs"/>
        </a:defRPr>
      </a:lvl7pPr>
      <a:lvl8pPr marL="4972589" indent="-331507" algn="l" defTabSz="1326023" rtl="0" eaLnBrk="1" latinLnBrk="0" hangingPunct="1">
        <a:spcBef>
          <a:spcPct val="20000"/>
        </a:spcBef>
        <a:buFont typeface="Arial" pitchFamily="34" charset="0"/>
        <a:buChar char="•"/>
        <a:defRPr sz="2893" kern="1200">
          <a:solidFill>
            <a:schemeClr val="tx1"/>
          </a:solidFill>
          <a:latin typeface="+mn-lt"/>
          <a:ea typeface="+mn-ea"/>
          <a:cs typeface="+mn-cs"/>
        </a:defRPr>
      </a:lvl8pPr>
      <a:lvl9pPr marL="5635601" indent="-331507" algn="l" defTabSz="1326023" rtl="0" eaLnBrk="1" latinLnBrk="0" hangingPunct="1">
        <a:spcBef>
          <a:spcPct val="20000"/>
        </a:spcBef>
        <a:buFont typeface="Arial" pitchFamily="34" charset="0"/>
        <a:buChar char="•"/>
        <a:defRPr sz="2893" kern="1200">
          <a:solidFill>
            <a:schemeClr val="tx1"/>
          </a:solidFill>
          <a:latin typeface="+mn-lt"/>
          <a:ea typeface="+mn-ea"/>
          <a:cs typeface="+mn-cs"/>
        </a:defRPr>
      </a:lvl9pPr>
    </p:bodyStyle>
    <p:otherStyle>
      <a:defPPr>
        <a:defRPr lang="fr-FR"/>
      </a:defPPr>
      <a:lvl1pPr marL="0" algn="l" defTabSz="1326023" rtl="0" eaLnBrk="1" latinLnBrk="0" hangingPunct="1">
        <a:defRPr sz="2553" kern="1200">
          <a:solidFill>
            <a:schemeClr val="tx1"/>
          </a:solidFill>
          <a:latin typeface="+mn-lt"/>
          <a:ea typeface="+mn-ea"/>
          <a:cs typeface="+mn-cs"/>
        </a:defRPr>
      </a:lvl1pPr>
      <a:lvl2pPr marL="663012" algn="l" defTabSz="1326023" rtl="0" eaLnBrk="1" latinLnBrk="0" hangingPunct="1">
        <a:defRPr sz="2553" kern="1200">
          <a:solidFill>
            <a:schemeClr val="tx1"/>
          </a:solidFill>
          <a:latin typeface="+mn-lt"/>
          <a:ea typeface="+mn-ea"/>
          <a:cs typeface="+mn-cs"/>
        </a:defRPr>
      </a:lvl2pPr>
      <a:lvl3pPr marL="1326023" algn="l" defTabSz="1326023" rtl="0" eaLnBrk="1" latinLnBrk="0" hangingPunct="1">
        <a:defRPr sz="2553" kern="1200">
          <a:solidFill>
            <a:schemeClr val="tx1"/>
          </a:solidFill>
          <a:latin typeface="+mn-lt"/>
          <a:ea typeface="+mn-ea"/>
          <a:cs typeface="+mn-cs"/>
        </a:defRPr>
      </a:lvl3pPr>
      <a:lvl4pPr marL="1989034" algn="l" defTabSz="1326023" rtl="0" eaLnBrk="1" latinLnBrk="0" hangingPunct="1">
        <a:defRPr sz="2553" kern="1200">
          <a:solidFill>
            <a:schemeClr val="tx1"/>
          </a:solidFill>
          <a:latin typeface="+mn-lt"/>
          <a:ea typeface="+mn-ea"/>
          <a:cs typeface="+mn-cs"/>
        </a:defRPr>
      </a:lvl4pPr>
      <a:lvl5pPr marL="2652049" algn="l" defTabSz="1326023" rtl="0" eaLnBrk="1" latinLnBrk="0" hangingPunct="1">
        <a:defRPr sz="2553" kern="1200">
          <a:solidFill>
            <a:schemeClr val="tx1"/>
          </a:solidFill>
          <a:latin typeface="+mn-lt"/>
          <a:ea typeface="+mn-ea"/>
          <a:cs typeface="+mn-cs"/>
        </a:defRPr>
      </a:lvl5pPr>
      <a:lvl6pPr marL="3315060" algn="l" defTabSz="1326023" rtl="0" eaLnBrk="1" latinLnBrk="0" hangingPunct="1">
        <a:defRPr sz="2553" kern="1200">
          <a:solidFill>
            <a:schemeClr val="tx1"/>
          </a:solidFill>
          <a:latin typeface="+mn-lt"/>
          <a:ea typeface="+mn-ea"/>
          <a:cs typeface="+mn-cs"/>
        </a:defRPr>
      </a:lvl6pPr>
      <a:lvl7pPr marL="3978072" algn="l" defTabSz="1326023" rtl="0" eaLnBrk="1" latinLnBrk="0" hangingPunct="1">
        <a:defRPr sz="2553" kern="1200">
          <a:solidFill>
            <a:schemeClr val="tx1"/>
          </a:solidFill>
          <a:latin typeface="+mn-lt"/>
          <a:ea typeface="+mn-ea"/>
          <a:cs typeface="+mn-cs"/>
        </a:defRPr>
      </a:lvl7pPr>
      <a:lvl8pPr marL="4641084" algn="l" defTabSz="1326023" rtl="0" eaLnBrk="1" latinLnBrk="0" hangingPunct="1">
        <a:defRPr sz="2553" kern="1200">
          <a:solidFill>
            <a:schemeClr val="tx1"/>
          </a:solidFill>
          <a:latin typeface="+mn-lt"/>
          <a:ea typeface="+mn-ea"/>
          <a:cs typeface="+mn-cs"/>
        </a:defRPr>
      </a:lvl8pPr>
      <a:lvl9pPr marL="5304096" algn="l" defTabSz="1326023" rtl="0" eaLnBrk="1" latinLnBrk="0" hangingPunct="1">
        <a:defRPr sz="255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0"/>
            </p:custDataLst>
          </p:nvPr>
        </p:nvGraphicFramePr>
        <p:xfrm>
          <a:off x="3" y="2"/>
          <a:ext cx="195384" cy="158751"/>
        </p:xfrm>
        <a:graphic>
          <a:graphicData uri="http://schemas.openxmlformats.org/presentationml/2006/ole">
            <mc:AlternateContent xmlns:mc="http://schemas.openxmlformats.org/markup-compatibility/2006">
              <mc:Choice xmlns:v="urn:schemas-microsoft-com:vml" Requires="v">
                <p:oleObj name="think-cell Slide" r:id="rId43" imgW="360" imgH="360" progId="">
                  <p:embed/>
                </p:oleObj>
              </mc:Choice>
              <mc:Fallback>
                <p:oleObj name="think-cell Slide" r:id="rId43" imgW="360" imgH="360" progId="">
                  <p:embed/>
                  <p:pic>
                    <p:nvPicPr>
                      <p:cNvPr id="8" name="Object 7"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3" y="2"/>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41"/>
            </p:custDataLst>
          </p:nvPr>
        </p:nvSpPr>
        <p:spPr>
          <a:xfrm>
            <a:off x="4" y="1"/>
            <a:ext cx="12191997" cy="1062180"/>
          </a:xfrm>
          <a:prstGeom prst="rect">
            <a:avLst/>
          </a:prstGeom>
        </p:spPr>
        <p:txBody>
          <a:bodyPr vert="horz" lIns="253554" tIns="28173" rIns="140864" bIns="28173" rtlCol="0" anchor="ctr">
            <a:noAutofit/>
          </a:bodyPr>
          <a:lstStyle/>
          <a:p>
            <a:r>
              <a:rPr lang="en-US" noProof="0" dirty="0" err="1"/>
              <a:t>Cliquez</a:t>
            </a:r>
            <a:r>
              <a:rPr lang="en-US" noProof="0" dirty="0"/>
              <a:t> pour modifier le style du </a:t>
            </a:r>
            <a:r>
              <a:rPr lang="en-US" noProof="0" dirty="0" err="1"/>
              <a:t>titre</a:t>
            </a:r>
            <a:endParaRPr lang="en-US" noProof="0" dirty="0"/>
          </a:p>
        </p:txBody>
      </p:sp>
      <p:sp>
        <p:nvSpPr>
          <p:cNvPr id="3" name="Text Placeholder 2"/>
          <p:cNvSpPr>
            <a:spLocks noGrp="1"/>
          </p:cNvSpPr>
          <p:nvPr>
            <p:ph type="body" idx="1"/>
            <p:custDataLst>
              <p:tags r:id="rId42"/>
            </p:custDataLst>
          </p:nvPr>
        </p:nvSpPr>
        <p:spPr>
          <a:xfrm>
            <a:off x="398025" y="1501978"/>
            <a:ext cx="11616153" cy="4636540"/>
          </a:xfrm>
          <a:prstGeom prst="rect">
            <a:avLst/>
          </a:prstGeom>
        </p:spPr>
        <p:txBody>
          <a:bodyPr vert="horz" lIns="92038" tIns="61358" rIns="61358" bIns="61358"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7" name="Line 7"/>
          <p:cNvSpPr>
            <a:spLocks noChangeShapeType="1"/>
          </p:cNvSpPr>
          <p:nvPr userDrawn="1"/>
        </p:nvSpPr>
        <p:spPr bwMode="gray">
          <a:xfrm>
            <a:off x="11588749" y="6450414"/>
            <a:ext cx="0" cy="319616"/>
          </a:xfrm>
          <a:prstGeom prst="line">
            <a:avLst/>
          </a:prstGeom>
          <a:noFill/>
          <a:ln w="9525">
            <a:solidFill>
              <a:srgbClr val="969696"/>
            </a:solidFill>
            <a:round/>
            <a:headEnd/>
            <a:tailEnd/>
          </a:ln>
          <a:effectLst/>
        </p:spPr>
        <p:txBody>
          <a:bodyPr wrap="none" anchor="ctr"/>
          <a:lstStyle/>
          <a:p>
            <a:endParaRPr lang="en-US" sz="2723" dirty="0">
              <a:solidFill>
                <a:schemeClr val="tx2"/>
              </a:solidFill>
              <a:latin typeface="+mj-lt"/>
            </a:endParaRPr>
          </a:p>
        </p:txBody>
      </p:sp>
      <p:sp>
        <p:nvSpPr>
          <p:cNvPr id="18" name="Text Box 8"/>
          <p:cNvSpPr txBox="1">
            <a:spLocks noChangeArrowheads="1"/>
          </p:cNvSpPr>
          <p:nvPr userDrawn="1"/>
        </p:nvSpPr>
        <p:spPr bwMode="gray">
          <a:xfrm>
            <a:off x="11588754" y="6448296"/>
            <a:ext cx="510718"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mj-lt"/>
              </a:rPr>
              <a:pPr eaLnBrk="0" hangingPunct="0">
                <a:lnSpc>
                  <a:spcPct val="85000"/>
                </a:lnSpc>
              </a:pPr>
              <a:t>‹#›</a:t>
            </a:fld>
            <a:endParaRPr lang="en-US" sz="800" dirty="0">
              <a:solidFill>
                <a:srgbClr val="969696"/>
              </a:solidFill>
              <a:latin typeface="+mj-lt"/>
            </a:endParaRPr>
          </a:p>
        </p:txBody>
      </p:sp>
      <p:sp>
        <p:nvSpPr>
          <p:cNvPr id="19" name="Text Box 9"/>
          <p:cNvSpPr txBox="1">
            <a:spLocks noChangeArrowheads="1"/>
          </p:cNvSpPr>
          <p:nvPr userDrawn="1"/>
        </p:nvSpPr>
        <p:spPr bwMode="gray">
          <a:xfrm>
            <a:off x="5475819" y="6508399"/>
            <a:ext cx="6068484" cy="203645"/>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51" dirty="0">
                <a:solidFill>
                  <a:schemeClr val="tx2"/>
                </a:solidFill>
                <a:latin typeface="+mj-lt"/>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5">
            <a:extLst>
              <a:ext uri="{96DAC541-7B7A-43D3-8B79-37D633B846F1}">
                <asvg:svgBlip xmlns:asvg="http://schemas.microsoft.com/office/drawing/2016/SVG/main" r:embed="rId46"/>
              </a:ext>
            </a:extLst>
          </a:blip>
          <a:stretch>
            <a:fillRect/>
          </a:stretch>
        </p:blipFill>
        <p:spPr>
          <a:xfrm>
            <a:off x="306832" y="6429450"/>
            <a:ext cx="1412969" cy="315238"/>
          </a:xfrm>
          <a:prstGeom prst="rect">
            <a:avLst/>
          </a:prstGeom>
        </p:spPr>
      </p:pic>
    </p:spTree>
    <p:extLst>
      <p:ext uri="{BB962C8B-B14F-4D97-AF65-F5344CB8AC3E}">
        <p14:creationId xmlns:p14="http://schemas.microsoft.com/office/powerpoint/2010/main" val="3467277678"/>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7" r:id="rId6"/>
    <p:sldLayoutId id="2147484088" r:id="rId7"/>
    <p:sldLayoutId id="2147484089" r:id="rId8"/>
    <p:sldLayoutId id="2147484090" r:id="rId9"/>
    <p:sldLayoutId id="2147484091" r:id="rId10"/>
    <p:sldLayoutId id="2147484092" r:id="rId11"/>
    <p:sldLayoutId id="2147484093" r:id="rId12"/>
    <p:sldLayoutId id="2147484094" r:id="rId13"/>
    <p:sldLayoutId id="2147484095" r:id="rId14"/>
    <p:sldLayoutId id="2147484096" r:id="rId15"/>
    <p:sldLayoutId id="2147484097" r:id="rId16"/>
    <p:sldLayoutId id="2147484098" r:id="rId17"/>
    <p:sldLayoutId id="2147484099" r:id="rId18"/>
    <p:sldLayoutId id="2147484100" r:id="rId19"/>
    <p:sldLayoutId id="2147484101" r:id="rId20"/>
    <p:sldLayoutId id="2147484102" r:id="rId21"/>
    <p:sldLayoutId id="2147484103" r:id="rId22"/>
    <p:sldLayoutId id="2147484104" r:id="rId23"/>
    <p:sldLayoutId id="2147484105" r:id="rId24"/>
    <p:sldLayoutId id="2147484108" r:id="rId25"/>
    <p:sldLayoutId id="2147484109" r:id="rId26"/>
    <p:sldLayoutId id="2147484110" r:id="rId27"/>
    <p:sldLayoutId id="2147484111" r:id="rId28"/>
    <p:sldLayoutId id="2147484112" r:id="rId29"/>
    <p:sldLayoutId id="2147484113" r:id="rId30"/>
    <p:sldLayoutId id="2147484114" r:id="rId31"/>
    <p:sldLayoutId id="2147484115" r:id="rId32"/>
    <p:sldLayoutId id="2147484116" r:id="rId33"/>
    <p:sldLayoutId id="2147484117" r:id="rId34"/>
    <p:sldLayoutId id="2147484118" r:id="rId35"/>
    <p:sldLayoutId id="2147484119" r:id="rId36"/>
    <p:sldLayoutId id="2147484120" r:id="rId37"/>
    <p:sldLayoutId id="2147484122" r:id="rId38"/>
  </p:sldLayoutIdLst>
  <p:txStyles>
    <p:titleStyle>
      <a:lvl1pPr algn="l" defTabSz="1326023" rtl="0" eaLnBrk="1" latinLnBrk="0" hangingPunct="1">
        <a:lnSpc>
          <a:spcPct val="85000"/>
        </a:lnSpc>
        <a:spcBef>
          <a:spcPct val="0"/>
        </a:spcBef>
        <a:buNone/>
        <a:defRPr sz="2723" b="0" kern="1200" spc="-119" baseline="0">
          <a:solidFill>
            <a:schemeClr val="tx2"/>
          </a:solidFill>
          <a:latin typeface="Segoe UI" panose="020B0502040204020203" pitchFamily="34" charset="0"/>
          <a:ea typeface="Verdana" panose="020B0604030504040204" pitchFamily="34" charset="0"/>
          <a:cs typeface="Segoe UI" panose="020B0502040204020203" pitchFamily="34" charset="0"/>
        </a:defRPr>
      </a:lvl1pPr>
    </p:titleStyle>
    <p:bodyStyle>
      <a:lvl1pPr marL="386324" indent="-386324" algn="l" defTabSz="1326023" rtl="0" eaLnBrk="1" latinLnBrk="0" hangingPunct="1">
        <a:lnSpc>
          <a:spcPct val="90000"/>
        </a:lnSpc>
        <a:spcBef>
          <a:spcPts val="0"/>
        </a:spcBef>
        <a:spcAft>
          <a:spcPts val="870"/>
        </a:spcAft>
        <a:buClr>
          <a:schemeClr val="accent2"/>
        </a:buClr>
        <a:buFont typeface="Wingdings" pitchFamily="2" charset="2"/>
        <a:buChar char="§"/>
        <a:defRPr sz="2723" b="0" kern="1200" spc="-119" baseline="0">
          <a:solidFill>
            <a:schemeClr val="tx1"/>
          </a:solidFill>
          <a:latin typeface="Segoe UI" panose="020B0502040204020203" pitchFamily="34" charset="0"/>
          <a:ea typeface="Verdana" panose="020B0604030504040204" pitchFamily="34" charset="0"/>
          <a:cs typeface="Segoe UI" panose="020B0502040204020203" pitchFamily="34" charset="0"/>
        </a:defRPr>
      </a:lvl1pPr>
      <a:lvl2pPr marL="786155" indent="-372816" algn="l" defTabSz="1326023" rtl="0" eaLnBrk="1" latinLnBrk="0" hangingPunct="1">
        <a:lnSpc>
          <a:spcPct val="90000"/>
        </a:lnSpc>
        <a:spcBef>
          <a:spcPts val="0"/>
        </a:spcBef>
        <a:spcAft>
          <a:spcPts val="870"/>
        </a:spcAft>
        <a:buClr>
          <a:schemeClr val="accent2"/>
        </a:buClr>
        <a:buFont typeface="Arial" panose="020B0604020202020204" pitchFamily="34" charset="0"/>
        <a:buChar char="–"/>
        <a:defRPr sz="2042" kern="1200" spc="-119" baseline="0">
          <a:solidFill>
            <a:schemeClr val="tx1"/>
          </a:solidFill>
          <a:latin typeface="Segoe UI" panose="020B0502040204020203" pitchFamily="34" charset="0"/>
          <a:ea typeface="Verdana" panose="020B0604030504040204" pitchFamily="34" charset="0"/>
          <a:cs typeface="Segoe UI" panose="020B0502040204020203" pitchFamily="34" charset="0"/>
        </a:defRPr>
      </a:lvl2pPr>
      <a:lvl3pPr marL="1075222" indent="-237737" algn="l" defTabSz="1326023" rtl="0" eaLnBrk="1" latinLnBrk="0" hangingPunct="1">
        <a:lnSpc>
          <a:spcPct val="90000"/>
        </a:lnSpc>
        <a:spcBef>
          <a:spcPts val="0"/>
        </a:spcBef>
        <a:spcAft>
          <a:spcPts val="870"/>
        </a:spcAft>
        <a:buClr>
          <a:schemeClr val="accent2"/>
        </a:buClr>
        <a:buFont typeface="Arial" pitchFamily="34" charset="0"/>
        <a:buChar char="•"/>
        <a:defRPr sz="1872" kern="1200" spc="-119" baseline="0">
          <a:solidFill>
            <a:schemeClr val="tx1"/>
          </a:solidFill>
          <a:latin typeface="Segoe UI" panose="020B0502040204020203" pitchFamily="34" charset="0"/>
          <a:ea typeface="Verdana" panose="020B0604030504040204" pitchFamily="34" charset="0"/>
          <a:cs typeface="Segoe UI" panose="020B0502040204020203" pitchFamily="34" charset="0"/>
        </a:defRPr>
      </a:lvl3pPr>
      <a:lvl4pPr marL="1364290" indent="-237737" algn="l" defTabSz="1326023" rtl="0" eaLnBrk="1" latinLnBrk="0" hangingPunct="1">
        <a:lnSpc>
          <a:spcPct val="90000"/>
        </a:lnSpc>
        <a:spcBef>
          <a:spcPts val="0"/>
        </a:spcBef>
        <a:spcAft>
          <a:spcPts val="870"/>
        </a:spcAft>
        <a:buClr>
          <a:schemeClr val="accent2"/>
        </a:buClr>
        <a:buFont typeface="Courier New" panose="02070309020205020404" pitchFamily="49" charset="0"/>
        <a:buChar char="o"/>
        <a:defRPr sz="1787" kern="1200" spc="-119" baseline="0">
          <a:solidFill>
            <a:schemeClr val="tx1"/>
          </a:solidFill>
          <a:latin typeface="Segoe UI" panose="020B0502040204020203" pitchFamily="34" charset="0"/>
          <a:ea typeface="Verdana" panose="020B0604030504040204" pitchFamily="34" charset="0"/>
          <a:cs typeface="Segoe UI" panose="020B0502040204020203" pitchFamily="34" charset="0"/>
        </a:defRPr>
      </a:lvl4pPr>
      <a:lvl5pPr marL="2334356" indent="-280860" algn="l" defTabSz="1326023" rtl="0" eaLnBrk="1" latinLnBrk="0" hangingPunct="1">
        <a:spcBef>
          <a:spcPts val="0"/>
        </a:spcBef>
        <a:buClr>
          <a:srgbClr val="B1B1B1"/>
        </a:buClr>
        <a:buFont typeface="Arial" pitchFamily="34" charset="0"/>
        <a:buChar char="–"/>
        <a:defRPr sz="2382" kern="1200">
          <a:solidFill>
            <a:srgbClr val="494949"/>
          </a:solidFill>
          <a:latin typeface="+mn-lt"/>
          <a:ea typeface="+mn-ea"/>
          <a:cs typeface="+mn-cs"/>
        </a:defRPr>
      </a:lvl5pPr>
      <a:lvl6pPr marL="3646567" indent="-331507" algn="l" defTabSz="1326023" rtl="0" eaLnBrk="1" latinLnBrk="0" hangingPunct="1">
        <a:spcBef>
          <a:spcPct val="20000"/>
        </a:spcBef>
        <a:buFont typeface="Arial" pitchFamily="34" charset="0"/>
        <a:buChar char="•"/>
        <a:defRPr sz="2893" kern="1200">
          <a:solidFill>
            <a:schemeClr val="tx1"/>
          </a:solidFill>
          <a:latin typeface="+mn-lt"/>
          <a:ea typeface="+mn-ea"/>
          <a:cs typeface="+mn-cs"/>
        </a:defRPr>
      </a:lvl6pPr>
      <a:lvl7pPr marL="4309578" indent="-331507" algn="l" defTabSz="1326023" rtl="0" eaLnBrk="1" latinLnBrk="0" hangingPunct="1">
        <a:spcBef>
          <a:spcPct val="20000"/>
        </a:spcBef>
        <a:buFont typeface="Arial" pitchFamily="34" charset="0"/>
        <a:buChar char="•"/>
        <a:defRPr sz="2893" kern="1200">
          <a:solidFill>
            <a:schemeClr val="tx1"/>
          </a:solidFill>
          <a:latin typeface="+mn-lt"/>
          <a:ea typeface="+mn-ea"/>
          <a:cs typeface="+mn-cs"/>
        </a:defRPr>
      </a:lvl7pPr>
      <a:lvl8pPr marL="4972589" indent="-331507" algn="l" defTabSz="1326023" rtl="0" eaLnBrk="1" latinLnBrk="0" hangingPunct="1">
        <a:spcBef>
          <a:spcPct val="20000"/>
        </a:spcBef>
        <a:buFont typeface="Arial" pitchFamily="34" charset="0"/>
        <a:buChar char="•"/>
        <a:defRPr sz="2893" kern="1200">
          <a:solidFill>
            <a:schemeClr val="tx1"/>
          </a:solidFill>
          <a:latin typeface="+mn-lt"/>
          <a:ea typeface="+mn-ea"/>
          <a:cs typeface="+mn-cs"/>
        </a:defRPr>
      </a:lvl8pPr>
      <a:lvl9pPr marL="5635601" indent="-331507" algn="l" defTabSz="1326023" rtl="0" eaLnBrk="1" latinLnBrk="0" hangingPunct="1">
        <a:spcBef>
          <a:spcPct val="20000"/>
        </a:spcBef>
        <a:buFont typeface="Arial" pitchFamily="34" charset="0"/>
        <a:buChar char="•"/>
        <a:defRPr sz="2893" kern="1200">
          <a:solidFill>
            <a:schemeClr val="tx1"/>
          </a:solidFill>
          <a:latin typeface="+mn-lt"/>
          <a:ea typeface="+mn-ea"/>
          <a:cs typeface="+mn-cs"/>
        </a:defRPr>
      </a:lvl9pPr>
    </p:bodyStyle>
    <p:otherStyle>
      <a:defPPr>
        <a:defRPr lang="fr-FR"/>
      </a:defPPr>
      <a:lvl1pPr marL="0" algn="l" defTabSz="1326023" rtl="0" eaLnBrk="1" latinLnBrk="0" hangingPunct="1">
        <a:defRPr sz="2553" kern="1200">
          <a:solidFill>
            <a:schemeClr val="tx1"/>
          </a:solidFill>
          <a:latin typeface="+mn-lt"/>
          <a:ea typeface="+mn-ea"/>
          <a:cs typeface="+mn-cs"/>
        </a:defRPr>
      </a:lvl1pPr>
      <a:lvl2pPr marL="663012" algn="l" defTabSz="1326023" rtl="0" eaLnBrk="1" latinLnBrk="0" hangingPunct="1">
        <a:defRPr sz="2553" kern="1200">
          <a:solidFill>
            <a:schemeClr val="tx1"/>
          </a:solidFill>
          <a:latin typeface="+mn-lt"/>
          <a:ea typeface="+mn-ea"/>
          <a:cs typeface="+mn-cs"/>
        </a:defRPr>
      </a:lvl2pPr>
      <a:lvl3pPr marL="1326023" algn="l" defTabSz="1326023" rtl="0" eaLnBrk="1" latinLnBrk="0" hangingPunct="1">
        <a:defRPr sz="2553" kern="1200">
          <a:solidFill>
            <a:schemeClr val="tx1"/>
          </a:solidFill>
          <a:latin typeface="+mn-lt"/>
          <a:ea typeface="+mn-ea"/>
          <a:cs typeface="+mn-cs"/>
        </a:defRPr>
      </a:lvl3pPr>
      <a:lvl4pPr marL="1989034" algn="l" defTabSz="1326023" rtl="0" eaLnBrk="1" latinLnBrk="0" hangingPunct="1">
        <a:defRPr sz="2553" kern="1200">
          <a:solidFill>
            <a:schemeClr val="tx1"/>
          </a:solidFill>
          <a:latin typeface="+mn-lt"/>
          <a:ea typeface="+mn-ea"/>
          <a:cs typeface="+mn-cs"/>
        </a:defRPr>
      </a:lvl4pPr>
      <a:lvl5pPr marL="2652049" algn="l" defTabSz="1326023" rtl="0" eaLnBrk="1" latinLnBrk="0" hangingPunct="1">
        <a:defRPr sz="2553" kern="1200">
          <a:solidFill>
            <a:schemeClr val="tx1"/>
          </a:solidFill>
          <a:latin typeface="+mn-lt"/>
          <a:ea typeface="+mn-ea"/>
          <a:cs typeface="+mn-cs"/>
        </a:defRPr>
      </a:lvl5pPr>
      <a:lvl6pPr marL="3315060" algn="l" defTabSz="1326023" rtl="0" eaLnBrk="1" latinLnBrk="0" hangingPunct="1">
        <a:defRPr sz="2553" kern="1200">
          <a:solidFill>
            <a:schemeClr val="tx1"/>
          </a:solidFill>
          <a:latin typeface="+mn-lt"/>
          <a:ea typeface="+mn-ea"/>
          <a:cs typeface="+mn-cs"/>
        </a:defRPr>
      </a:lvl6pPr>
      <a:lvl7pPr marL="3978072" algn="l" defTabSz="1326023" rtl="0" eaLnBrk="1" latinLnBrk="0" hangingPunct="1">
        <a:defRPr sz="2553" kern="1200">
          <a:solidFill>
            <a:schemeClr val="tx1"/>
          </a:solidFill>
          <a:latin typeface="+mn-lt"/>
          <a:ea typeface="+mn-ea"/>
          <a:cs typeface="+mn-cs"/>
        </a:defRPr>
      </a:lvl7pPr>
      <a:lvl8pPr marL="4641084" algn="l" defTabSz="1326023" rtl="0" eaLnBrk="1" latinLnBrk="0" hangingPunct="1">
        <a:defRPr sz="2553" kern="1200">
          <a:solidFill>
            <a:schemeClr val="tx1"/>
          </a:solidFill>
          <a:latin typeface="+mn-lt"/>
          <a:ea typeface="+mn-ea"/>
          <a:cs typeface="+mn-cs"/>
        </a:defRPr>
      </a:lvl8pPr>
      <a:lvl9pPr marL="5304096" algn="l" defTabSz="1326023" rtl="0" eaLnBrk="1" latinLnBrk="0" hangingPunct="1">
        <a:defRPr sz="255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6.xml"/></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10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9.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11204" y="961620"/>
            <a:ext cx="11281360" cy="1199092"/>
          </a:xfrm>
        </p:spPr>
        <p:txBody>
          <a:bodyPr/>
          <a:lstStyle/>
          <a:p>
            <a:r>
              <a:rPr lang="en-US" sz="2800" b="1" dirty="0">
                <a:solidFill>
                  <a:schemeClr val="tx1"/>
                </a:solidFill>
                <a:latin typeface="+mj-lt"/>
              </a:rPr>
              <a:t>UFT Hybrid Driven Automation Framework</a:t>
            </a:r>
            <a:endParaRPr lang="en-GB" sz="2800" dirty="0">
              <a:latin typeface="+mj-lt"/>
            </a:endParaRPr>
          </a:p>
        </p:txBody>
      </p:sp>
      <p:sp>
        <p:nvSpPr>
          <p:cNvPr id="8" name="Text Placeholder 7"/>
          <p:cNvSpPr>
            <a:spLocks noGrp="1"/>
          </p:cNvSpPr>
          <p:nvPr>
            <p:ph type="body" sz="quarter" idx="10"/>
          </p:nvPr>
        </p:nvSpPr>
        <p:spPr/>
        <p:txBody>
          <a:bodyPr/>
          <a:lstStyle/>
          <a:p>
            <a:br>
              <a:rPr lang="en-US" sz="3600" b="1" dirty="0"/>
            </a:br>
            <a:endParaRPr lang="en-US" dirty="0">
              <a:solidFill>
                <a:schemeClr val="tx1"/>
              </a:solidFill>
            </a:endParaRPr>
          </a:p>
        </p:txBody>
      </p:sp>
    </p:spTree>
    <p:extLst>
      <p:ext uri="{BB962C8B-B14F-4D97-AF65-F5344CB8AC3E}">
        <p14:creationId xmlns:p14="http://schemas.microsoft.com/office/powerpoint/2010/main" val="9650217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64925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b="1" dirty="0"/>
              <a:t>       </a:t>
            </a:r>
            <a:r>
              <a:rPr lang="en-US" sz="2800" dirty="0">
                <a:latin typeface="+mj-lt"/>
              </a:rPr>
              <a:t>Agenda</a:t>
            </a:r>
            <a:br>
              <a:rPr lang="en-US" b="1" dirty="0">
                <a:latin typeface="+mj-lt"/>
              </a:rPr>
            </a:br>
            <a:endParaRPr lang="en-US" b="1" dirty="0">
              <a:latin typeface="+mj-lt"/>
            </a:endParaRPr>
          </a:p>
        </p:txBody>
      </p:sp>
      <p:sp>
        <p:nvSpPr>
          <p:cNvPr id="4" name="Rectangle 3"/>
          <p:cNvSpPr/>
          <p:nvPr/>
        </p:nvSpPr>
        <p:spPr>
          <a:xfrm>
            <a:off x="475709" y="3059688"/>
            <a:ext cx="11716291" cy="2192908"/>
          </a:xfrm>
          <a:prstGeom prst="rect">
            <a:avLst/>
          </a:prstGeom>
        </p:spPr>
        <p:txBody>
          <a:bodyPr wrap="square">
            <a:spAutoFit/>
          </a:bodyPr>
          <a:lstStyle/>
          <a:p>
            <a:pPr marL="559494" lvl="1" indent="-342900" defTabSz="817702">
              <a:lnSpc>
                <a:spcPct val="90000"/>
              </a:lnSpc>
              <a:spcBef>
                <a:spcPct val="0"/>
              </a:spcBef>
              <a:spcAft>
                <a:spcPct val="15000"/>
              </a:spcAft>
              <a:buAutoNum type="arabicPeriod"/>
              <a:defRPr/>
            </a:pPr>
            <a:r>
              <a:rPr lang="en-US" sz="1800" b="1" dirty="0">
                <a:solidFill>
                  <a:schemeClr val="tx1"/>
                </a:solidFill>
              </a:rPr>
              <a:t>UFT Hybrid driven Automation Framework - Introduction, Highlights and Benefits</a:t>
            </a:r>
          </a:p>
          <a:p>
            <a:pPr marL="559494" lvl="1" indent="-342900" defTabSz="817702">
              <a:lnSpc>
                <a:spcPct val="90000"/>
              </a:lnSpc>
              <a:spcBef>
                <a:spcPct val="0"/>
              </a:spcBef>
              <a:spcAft>
                <a:spcPct val="15000"/>
              </a:spcAft>
              <a:buAutoNum type="arabicPeriod"/>
              <a:defRPr/>
            </a:pPr>
            <a:r>
              <a:rPr lang="en-US" sz="1800" b="1" dirty="0">
                <a:ea typeface="ＭＳ Ｐゴシック"/>
                <a:cs typeface="Segoe UI" panose="020B0502040204020203" pitchFamily="34" charset="0"/>
              </a:rPr>
              <a:t>Framework Architecture</a:t>
            </a:r>
          </a:p>
          <a:p>
            <a:pPr marL="559494" lvl="1" indent="-342900" defTabSz="817702">
              <a:lnSpc>
                <a:spcPct val="90000"/>
              </a:lnSpc>
              <a:spcBef>
                <a:spcPct val="0"/>
              </a:spcBef>
              <a:spcAft>
                <a:spcPct val="15000"/>
              </a:spcAft>
              <a:buFontTx/>
              <a:buAutoNum type="arabicPeriod"/>
              <a:defRPr/>
            </a:pPr>
            <a:r>
              <a:rPr lang="en-US" sz="1800" b="1" dirty="0">
                <a:ea typeface="ＭＳ Ｐゴシック"/>
                <a:cs typeface="Segoe UI" panose="020B0502040204020203" pitchFamily="34" charset="0"/>
              </a:rPr>
              <a:t>Case Study- Project Automation Approach</a:t>
            </a:r>
          </a:p>
          <a:p>
            <a:pPr marL="559494" lvl="1" indent="-342900" defTabSz="817702">
              <a:lnSpc>
                <a:spcPct val="90000"/>
              </a:lnSpc>
              <a:spcBef>
                <a:spcPct val="0"/>
              </a:spcBef>
              <a:spcAft>
                <a:spcPct val="15000"/>
              </a:spcAft>
              <a:buFontTx/>
              <a:buAutoNum type="arabicPeriod"/>
              <a:defRPr/>
            </a:pPr>
            <a:r>
              <a:rPr lang="en-US" sz="1800" b="1" dirty="0">
                <a:ea typeface="ＭＳ Ｐゴシック"/>
                <a:cs typeface="Segoe UI" panose="020B0502040204020203" pitchFamily="34" charset="0"/>
              </a:rPr>
              <a:t>Framework Folders</a:t>
            </a:r>
          </a:p>
          <a:p>
            <a:pPr marL="559494" lvl="1" indent="-342900" defTabSz="817702">
              <a:lnSpc>
                <a:spcPct val="90000"/>
              </a:lnSpc>
              <a:spcBef>
                <a:spcPct val="0"/>
              </a:spcBef>
              <a:spcAft>
                <a:spcPct val="15000"/>
              </a:spcAft>
              <a:buFontTx/>
              <a:buAutoNum type="arabicPeriod"/>
              <a:defRPr/>
            </a:pPr>
            <a:r>
              <a:rPr lang="en-US" sz="1800" b="1" dirty="0">
                <a:ea typeface="ＭＳ Ｐゴシック"/>
                <a:cs typeface="Segoe UI" panose="020B0502040204020203" pitchFamily="34" charset="0"/>
              </a:rPr>
              <a:t>Q &amp; A</a:t>
            </a:r>
          </a:p>
          <a:p>
            <a:pPr marL="559494" lvl="1" indent="-342900" defTabSz="817702">
              <a:lnSpc>
                <a:spcPct val="90000"/>
              </a:lnSpc>
              <a:spcBef>
                <a:spcPct val="0"/>
              </a:spcBef>
              <a:spcAft>
                <a:spcPct val="15000"/>
              </a:spcAft>
              <a:buFontTx/>
              <a:buAutoNum type="arabicPeriod"/>
              <a:defRPr/>
            </a:pPr>
            <a:endParaRPr lang="en-US" sz="1400" b="1" dirty="0">
              <a:solidFill>
                <a:schemeClr val="bg1"/>
              </a:solidFill>
              <a:latin typeface="Candara" panose="020E0502030303020204" pitchFamily="34" charset="0"/>
              <a:cs typeface="Arial" pitchFamily="34" charset="0"/>
            </a:endParaRPr>
          </a:p>
          <a:p>
            <a:pPr marL="559494" lvl="1" indent="-342900" defTabSz="817702">
              <a:lnSpc>
                <a:spcPct val="90000"/>
              </a:lnSpc>
              <a:spcBef>
                <a:spcPct val="0"/>
              </a:spcBef>
              <a:spcAft>
                <a:spcPct val="15000"/>
              </a:spcAft>
              <a:buFontTx/>
              <a:buAutoNum type="arabicPeriod"/>
              <a:defRPr/>
            </a:pPr>
            <a:endParaRPr lang="en-US" sz="1400" b="1" dirty="0">
              <a:solidFill>
                <a:schemeClr val="bg1"/>
              </a:solidFill>
              <a:latin typeface="Candara" panose="020E0502030303020204" pitchFamily="34" charset="0"/>
              <a:cs typeface="Arial" pitchFamily="34" charset="0"/>
            </a:endParaRPr>
          </a:p>
          <a:p>
            <a:pPr marL="559494" lvl="1" indent="-342900" defTabSz="817702">
              <a:lnSpc>
                <a:spcPct val="90000"/>
              </a:lnSpc>
              <a:spcBef>
                <a:spcPct val="0"/>
              </a:spcBef>
              <a:spcAft>
                <a:spcPct val="15000"/>
              </a:spcAft>
              <a:buAutoNum type="arabicPeriod"/>
              <a:defRPr/>
            </a:pPr>
            <a:endParaRPr lang="en-US" sz="1400" b="1" dirty="0">
              <a:solidFill>
                <a:schemeClr val="tx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764241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99330-A1AF-9220-D99B-17EA4AEE1798}"/>
              </a:ext>
            </a:extLst>
          </p:cNvPr>
          <p:cNvSpPr>
            <a:spLocks noGrp="1"/>
          </p:cNvSpPr>
          <p:nvPr>
            <p:ph type="title"/>
          </p:nvPr>
        </p:nvSpPr>
        <p:spPr>
          <a:xfrm>
            <a:off x="937409" y="-118919"/>
            <a:ext cx="11797552" cy="718449"/>
          </a:xfrm>
        </p:spPr>
        <p:txBody>
          <a:bodyPr/>
          <a:lstStyle/>
          <a:p>
            <a:r>
              <a:rPr lang="en-US" sz="2000" b="1" dirty="0">
                <a:solidFill>
                  <a:srgbClr val="00B0F0"/>
                </a:solidFill>
                <a:latin typeface="+mn-lt"/>
                <a:ea typeface="ＭＳ Ｐゴシック"/>
              </a:rPr>
              <a:t>UFT Hybrid Driven Automation Framework - Introduction, Highlights and Benefits</a:t>
            </a:r>
            <a:endParaRPr lang="en-IN" sz="2000" b="1" dirty="0">
              <a:solidFill>
                <a:srgbClr val="00B0F0"/>
              </a:solidFill>
              <a:latin typeface="+mn-lt"/>
              <a:ea typeface="ＭＳ Ｐゴシック"/>
            </a:endParaRPr>
          </a:p>
        </p:txBody>
      </p:sp>
      <p:sp>
        <p:nvSpPr>
          <p:cNvPr id="9" name="Flowchart: Process 8">
            <a:extLst>
              <a:ext uri="{FF2B5EF4-FFF2-40B4-BE49-F238E27FC236}">
                <a16:creationId xmlns:a16="http://schemas.microsoft.com/office/drawing/2014/main" id="{E2003B28-2D79-B2F5-E9DD-421D8611EF20}"/>
              </a:ext>
            </a:extLst>
          </p:cNvPr>
          <p:cNvSpPr/>
          <p:nvPr/>
        </p:nvSpPr>
        <p:spPr>
          <a:xfrm>
            <a:off x="5889812" y="1891553"/>
            <a:ext cx="349623" cy="304800"/>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a:solidFill>
                <a:schemeClr val="tx2">
                  <a:lumMod val="50000"/>
                </a:schemeClr>
              </a:solidFill>
            </a:endParaRPr>
          </a:p>
        </p:txBody>
      </p:sp>
      <p:sp>
        <p:nvSpPr>
          <p:cNvPr id="63" name="TextBox 62">
            <a:extLst>
              <a:ext uri="{FF2B5EF4-FFF2-40B4-BE49-F238E27FC236}">
                <a16:creationId xmlns:a16="http://schemas.microsoft.com/office/drawing/2014/main" id="{B20E28D8-B1E5-0DD2-A864-AEC8F57C19E1}"/>
              </a:ext>
            </a:extLst>
          </p:cNvPr>
          <p:cNvSpPr txBox="1"/>
          <p:nvPr/>
        </p:nvSpPr>
        <p:spPr>
          <a:xfrm>
            <a:off x="146171" y="538937"/>
            <a:ext cx="12186527" cy="1415772"/>
          </a:xfrm>
          <a:prstGeom prst="rect">
            <a:avLst/>
          </a:prstGeom>
          <a:noFill/>
        </p:spPr>
        <p:txBody>
          <a:bodyPr wrap="square">
            <a:spAutoFit/>
          </a:bodyPr>
          <a:lstStyle/>
          <a:p>
            <a:pPr marL="285750" indent="-285750" algn="l">
              <a:spcAft>
                <a:spcPts val="1200"/>
              </a:spcAft>
              <a:buFont typeface="Wingdings" panose="05000000000000000000" pitchFamily="2" charset="2"/>
              <a:buChar char="v"/>
            </a:pPr>
            <a:r>
              <a:rPr lang="en-US" sz="1400" b="0" i="0" dirty="0">
                <a:solidFill>
                  <a:srgbClr val="000000"/>
                </a:solidFill>
                <a:effectLst/>
              </a:rPr>
              <a:t> Hybrid Automation Framework is a generic automation framework. It can be used for test automation.</a:t>
            </a:r>
          </a:p>
          <a:p>
            <a:pPr marL="285750" indent="-285750">
              <a:spcAft>
                <a:spcPts val="1200"/>
              </a:spcAft>
              <a:buFont typeface="Wingdings" panose="05000000000000000000" pitchFamily="2" charset="2"/>
              <a:buChar char="v"/>
            </a:pPr>
            <a:r>
              <a:rPr lang="en-US" sz="1400" dirty="0">
                <a:solidFill>
                  <a:srgbClr val="000000"/>
                </a:solidFill>
              </a:rPr>
              <a:t> </a:t>
            </a:r>
            <a:r>
              <a:rPr lang="en-US" sz="1400" b="0" i="0" dirty="0">
                <a:solidFill>
                  <a:srgbClr val="000000"/>
                </a:solidFill>
                <a:effectLst/>
              </a:rPr>
              <a:t> It is a customized framework. This framework includes Data driven and keyword driven frameworks for software development.</a:t>
            </a:r>
          </a:p>
          <a:p>
            <a:pPr marL="285750" indent="-285750">
              <a:spcAft>
                <a:spcPts val="1200"/>
              </a:spcAft>
              <a:buFont typeface="Wingdings" panose="05000000000000000000" pitchFamily="2" charset="2"/>
              <a:buChar char="v"/>
            </a:pPr>
            <a:r>
              <a:rPr lang="en-US" sz="1400" dirty="0">
                <a:solidFill>
                  <a:srgbClr val="000000"/>
                </a:solidFill>
              </a:rPr>
              <a:t> This</a:t>
            </a:r>
            <a:r>
              <a:rPr lang="en-US" sz="1400" b="0" i="0" dirty="0">
                <a:solidFill>
                  <a:srgbClr val="000000"/>
                </a:solidFill>
                <a:effectLst/>
              </a:rPr>
              <a:t> Framework is extensible</a:t>
            </a:r>
            <a:r>
              <a:rPr lang="en-US" sz="1400" dirty="0">
                <a:solidFill>
                  <a:srgbClr val="000000"/>
                </a:solidFill>
              </a:rPr>
              <a:t> and </a:t>
            </a:r>
            <a:r>
              <a:rPr lang="en-US" sz="1400" b="0" i="0" dirty="0">
                <a:solidFill>
                  <a:srgbClr val="000000"/>
                </a:solidFill>
                <a:effectLst/>
              </a:rPr>
              <a:t>can be integrated with any other tool to create powerful and flexible automation solutions. </a:t>
            </a:r>
          </a:p>
          <a:p>
            <a:pPr>
              <a:spcAft>
                <a:spcPts val="1200"/>
              </a:spcAft>
            </a:pPr>
            <a:r>
              <a:rPr lang="en-US" sz="1400" b="0" i="0" dirty="0">
                <a:solidFill>
                  <a:srgbClr val="000000"/>
                </a:solidFill>
                <a:effectLst/>
              </a:rPr>
              <a:t>       </a:t>
            </a:r>
            <a:r>
              <a:rPr lang="en-US" sz="1400" b="0" i="0" dirty="0" err="1">
                <a:solidFill>
                  <a:srgbClr val="000000"/>
                </a:solidFill>
                <a:effectLst/>
              </a:rPr>
              <a:t>Eg</a:t>
            </a:r>
            <a:r>
              <a:rPr lang="en-US" sz="1400" b="0" i="0" dirty="0">
                <a:solidFill>
                  <a:srgbClr val="000000"/>
                </a:solidFill>
                <a:effectLst/>
              </a:rPr>
              <a:t> : HP ALM, GIT, Jenkins </a:t>
            </a:r>
          </a:p>
        </p:txBody>
      </p:sp>
      <p:grpSp>
        <p:nvGrpSpPr>
          <p:cNvPr id="26" name="Group 25">
            <a:extLst>
              <a:ext uri="{FF2B5EF4-FFF2-40B4-BE49-F238E27FC236}">
                <a16:creationId xmlns:a16="http://schemas.microsoft.com/office/drawing/2014/main" id="{B70C14E7-28A1-4F5D-8C0A-0E8A4B41A101}"/>
              </a:ext>
            </a:extLst>
          </p:cNvPr>
          <p:cNvGrpSpPr/>
          <p:nvPr/>
        </p:nvGrpSpPr>
        <p:grpSpPr>
          <a:xfrm>
            <a:off x="5698779" y="2122384"/>
            <a:ext cx="4239167" cy="4079395"/>
            <a:chOff x="6706739" y="2005847"/>
            <a:chExt cx="4239167" cy="4124218"/>
          </a:xfrm>
        </p:grpSpPr>
        <p:sp>
          <p:nvSpPr>
            <p:cNvPr id="15" name="Rounded Rectangle 8">
              <a:extLst>
                <a:ext uri="{FF2B5EF4-FFF2-40B4-BE49-F238E27FC236}">
                  <a16:creationId xmlns:a16="http://schemas.microsoft.com/office/drawing/2014/main" id="{98AE8981-3213-7121-E2E3-0F50A30978B9}"/>
                </a:ext>
              </a:extLst>
            </p:cNvPr>
            <p:cNvSpPr/>
            <p:nvPr/>
          </p:nvSpPr>
          <p:spPr>
            <a:xfrm rot="16200000">
              <a:off x="4887563" y="3825023"/>
              <a:ext cx="4124218" cy="485865"/>
            </a:xfrm>
            <a:prstGeom prst="roundRect">
              <a:avLst/>
            </a:prstGeom>
            <a:solidFill>
              <a:srgbClr val="0075B3"/>
            </a:solidFill>
            <a:ln>
              <a:noFill/>
            </a:ln>
            <a:effectLst>
              <a:outerShdw blurRad="44450" dist="27940" dir="5400000" algn="ctr">
                <a:srgbClr val="000000">
                  <a:alpha val="32000"/>
                </a:srgbClr>
              </a:outerShdw>
            </a:effectLst>
          </p:spPr>
          <p:style>
            <a:lnRef idx="1">
              <a:schemeClr val="accent1"/>
            </a:lnRef>
            <a:fillRef idx="0">
              <a:schemeClr val="accent1"/>
            </a:fillRef>
            <a:effectRef idx="0">
              <a:schemeClr val="accent1"/>
            </a:effectRef>
            <a:fontRef idx="minor">
              <a:schemeClr val="tx1"/>
            </a:fontRef>
          </p:style>
          <p:txBody>
            <a:bodyPr rtlCol="0" anchor="t"/>
            <a:lstStyle/>
            <a:p>
              <a:pPr algn="ctr"/>
              <a:r>
                <a:rPr lang="en-US" sz="1800" b="1" dirty="0">
                  <a:solidFill>
                    <a:prstClr val="white"/>
                  </a:solidFill>
                  <a:latin typeface="+mj-lt"/>
                  <a:cs typeface="Arial" pitchFamily="34" charset="0"/>
                </a:rPr>
                <a:t>Benefits</a:t>
              </a:r>
            </a:p>
            <a:p>
              <a:pPr algn="ctr"/>
              <a:endParaRPr lang="en-US" sz="1800" b="1" dirty="0">
                <a:solidFill>
                  <a:prstClr val="white"/>
                </a:solidFill>
                <a:cs typeface="Arial" pitchFamily="34" charset="0"/>
              </a:endParaRPr>
            </a:p>
          </p:txBody>
        </p:sp>
        <p:sp>
          <p:nvSpPr>
            <p:cNvPr id="21" name="Callout: Line with Border and Accent Bar 20">
              <a:extLst>
                <a:ext uri="{FF2B5EF4-FFF2-40B4-BE49-F238E27FC236}">
                  <a16:creationId xmlns:a16="http://schemas.microsoft.com/office/drawing/2014/main" id="{3858D4BA-F276-4A1A-7F5E-FB51E6DDF4C2}"/>
                </a:ext>
              </a:extLst>
            </p:cNvPr>
            <p:cNvSpPr/>
            <p:nvPr/>
          </p:nvSpPr>
          <p:spPr>
            <a:xfrm>
              <a:off x="7924798" y="2062037"/>
              <a:ext cx="3021108" cy="582706"/>
            </a:xfrm>
            <a:prstGeom prst="accentBorderCallout1">
              <a:avLst>
                <a:gd name="adj1" fmla="val 18750"/>
                <a:gd name="adj2" fmla="val -8333"/>
                <a:gd name="adj3" fmla="val 83269"/>
                <a:gd name="adj4" fmla="val -23194"/>
              </a:avLst>
            </a:prstGeom>
            <a:solidFill>
              <a:srgbClr val="0075B3"/>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200" dirty="0">
                  <a:cs typeface="Segoe UI" panose="020B0502040204020203" pitchFamily="34" charset="0"/>
                </a:rPr>
                <a:t>Works for both windows and web apps</a:t>
              </a:r>
            </a:p>
          </p:txBody>
        </p:sp>
        <p:sp>
          <p:nvSpPr>
            <p:cNvPr id="22" name="Callout: Line with Border and Accent Bar 21">
              <a:extLst>
                <a:ext uri="{FF2B5EF4-FFF2-40B4-BE49-F238E27FC236}">
                  <a16:creationId xmlns:a16="http://schemas.microsoft.com/office/drawing/2014/main" id="{AFF0CDFF-6FC5-ACDD-6B1F-AF4B87ADF297}"/>
                </a:ext>
              </a:extLst>
            </p:cNvPr>
            <p:cNvSpPr/>
            <p:nvPr/>
          </p:nvSpPr>
          <p:spPr>
            <a:xfrm>
              <a:off x="7924798" y="2940225"/>
              <a:ext cx="3021108" cy="582706"/>
            </a:xfrm>
            <a:prstGeom prst="accentBorderCallout1">
              <a:avLst>
                <a:gd name="adj1" fmla="val 18750"/>
                <a:gd name="adj2" fmla="val -8333"/>
                <a:gd name="adj3" fmla="val 83269"/>
                <a:gd name="adj4" fmla="val -23194"/>
              </a:avLst>
            </a:prstGeom>
            <a:solidFill>
              <a:srgbClr val="0075B3"/>
            </a:solidFill>
            <a:ln/>
          </p:spPr>
          <p:style>
            <a:lnRef idx="1">
              <a:schemeClr val="accent2"/>
            </a:lnRef>
            <a:fillRef idx="3">
              <a:schemeClr val="accent2"/>
            </a:fillRef>
            <a:effectRef idx="2">
              <a:schemeClr val="accent2"/>
            </a:effectRef>
            <a:fontRef idx="minor">
              <a:schemeClr val="lt1"/>
            </a:fontRef>
          </p:style>
          <p:txBody>
            <a:bodyPr rtlCol="0" anchor="ctr"/>
            <a:lstStyle/>
            <a:p>
              <a:pPr algn="ctr" defTabSz="800100">
                <a:lnSpc>
                  <a:spcPct val="90000"/>
                </a:lnSpc>
                <a:spcBef>
                  <a:spcPct val="0"/>
                </a:spcBef>
                <a:spcAft>
                  <a:spcPct val="35000"/>
                </a:spcAft>
              </a:pPr>
              <a:r>
                <a:rPr lang="en-US" sz="1200" dirty="0">
                  <a:cs typeface="Segoe UI" panose="020B0502040204020203" pitchFamily="34" charset="0"/>
                </a:rPr>
                <a:t>Uses a low-code approach and is easy to learn</a:t>
              </a:r>
            </a:p>
          </p:txBody>
        </p:sp>
        <p:sp>
          <p:nvSpPr>
            <p:cNvPr id="23" name="Callout: Line with Border and Accent Bar 22">
              <a:extLst>
                <a:ext uri="{FF2B5EF4-FFF2-40B4-BE49-F238E27FC236}">
                  <a16:creationId xmlns:a16="http://schemas.microsoft.com/office/drawing/2014/main" id="{C03C1AC8-A121-A962-E1A0-8049968D7D6B}"/>
                </a:ext>
              </a:extLst>
            </p:cNvPr>
            <p:cNvSpPr/>
            <p:nvPr/>
          </p:nvSpPr>
          <p:spPr>
            <a:xfrm>
              <a:off x="7924798" y="3773348"/>
              <a:ext cx="3021108" cy="582706"/>
            </a:xfrm>
            <a:prstGeom prst="accentBorderCallout1">
              <a:avLst>
                <a:gd name="adj1" fmla="val 18750"/>
                <a:gd name="adj2" fmla="val -8333"/>
                <a:gd name="adj3" fmla="val 83269"/>
                <a:gd name="adj4" fmla="val -23194"/>
              </a:avLst>
            </a:prstGeom>
            <a:solidFill>
              <a:srgbClr val="0075B3"/>
            </a:solidFill>
            <a:ln/>
          </p:spPr>
          <p:style>
            <a:lnRef idx="1">
              <a:schemeClr val="accent2"/>
            </a:lnRef>
            <a:fillRef idx="3">
              <a:schemeClr val="accent2"/>
            </a:fillRef>
            <a:effectRef idx="2">
              <a:schemeClr val="accent2"/>
            </a:effectRef>
            <a:fontRef idx="minor">
              <a:schemeClr val="lt1"/>
            </a:fontRef>
          </p:style>
          <p:txBody>
            <a:bodyPr rtlCol="0" anchor="ctr"/>
            <a:lstStyle/>
            <a:p>
              <a:pPr algn="ctr" defTabSz="800100">
                <a:lnSpc>
                  <a:spcPct val="90000"/>
                </a:lnSpc>
                <a:spcBef>
                  <a:spcPct val="0"/>
                </a:spcBef>
                <a:spcAft>
                  <a:spcPct val="35000"/>
                </a:spcAft>
              </a:pPr>
              <a:r>
                <a:rPr lang="en-US" sz="1200" dirty="0">
                  <a:cs typeface="Segoe UI" panose="020B0502040204020203" pitchFamily="34" charset="0"/>
                </a:rPr>
                <a:t>Easy to read and understand even by non-technical people(Product owner can involve to define acceptance criteria)</a:t>
              </a:r>
            </a:p>
          </p:txBody>
        </p:sp>
        <p:sp>
          <p:nvSpPr>
            <p:cNvPr id="24" name="Callout: Line with Border and Accent Bar 23">
              <a:extLst>
                <a:ext uri="{FF2B5EF4-FFF2-40B4-BE49-F238E27FC236}">
                  <a16:creationId xmlns:a16="http://schemas.microsoft.com/office/drawing/2014/main" id="{3FC56333-0970-BE58-2914-C945F7F3CF0F}"/>
                </a:ext>
              </a:extLst>
            </p:cNvPr>
            <p:cNvSpPr/>
            <p:nvPr/>
          </p:nvSpPr>
          <p:spPr>
            <a:xfrm>
              <a:off x="7924798" y="4654338"/>
              <a:ext cx="3021108" cy="582706"/>
            </a:xfrm>
            <a:prstGeom prst="accentBorderCallout1">
              <a:avLst>
                <a:gd name="adj1" fmla="val 18750"/>
                <a:gd name="adj2" fmla="val -8333"/>
                <a:gd name="adj3" fmla="val 83269"/>
                <a:gd name="adj4" fmla="val -23194"/>
              </a:avLst>
            </a:prstGeom>
            <a:solidFill>
              <a:srgbClr val="0075B3"/>
            </a:solidFill>
            <a:ln/>
          </p:spPr>
          <p:style>
            <a:lnRef idx="1">
              <a:schemeClr val="accent2"/>
            </a:lnRef>
            <a:fillRef idx="3">
              <a:schemeClr val="accent2"/>
            </a:fillRef>
            <a:effectRef idx="2">
              <a:schemeClr val="accent2"/>
            </a:effectRef>
            <a:fontRef idx="minor">
              <a:schemeClr val="lt1"/>
            </a:fontRef>
          </p:style>
          <p:txBody>
            <a:bodyPr rtlCol="0" anchor="ctr"/>
            <a:lstStyle/>
            <a:p>
              <a:pPr algn="ctr" defTabSz="800100">
                <a:lnSpc>
                  <a:spcPct val="90000"/>
                </a:lnSpc>
                <a:spcBef>
                  <a:spcPct val="0"/>
                </a:spcBef>
                <a:spcAft>
                  <a:spcPct val="35000"/>
                </a:spcAft>
              </a:pPr>
              <a:r>
                <a:rPr lang="en-US" sz="1200" dirty="0">
                  <a:cs typeface="Segoe UI" panose="020B0502040204020203" pitchFamily="34" charset="0"/>
                </a:rPr>
                <a:t>Flagging of test cases that come handy before each run</a:t>
              </a:r>
            </a:p>
          </p:txBody>
        </p:sp>
        <p:sp>
          <p:nvSpPr>
            <p:cNvPr id="25" name="Callout: Line with Border and Accent Bar 24">
              <a:extLst>
                <a:ext uri="{FF2B5EF4-FFF2-40B4-BE49-F238E27FC236}">
                  <a16:creationId xmlns:a16="http://schemas.microsoft.com/office/drawing/2014/main" id="{FB036CB5-D435-9FC7-6D90-03064C2B6EFB}"/>
                </a:ext>
              </a:extLst>
            </p:cNvPr>
            <p:cNvSpPr/>
            <p:nvPr/>
          </p:nvSpPr>
          <p:spPr>
            <a:xfrm>
              <a:off x="7924798" y="5467323"/>
              <a:ext cx="3021108" cy="582706"/>
            </a:xfrm>
            <a:prstGeom prst="accentBorderCallout1">
              <a:avLst>
                <a:gd name="adj1" fmla="val 18750"/>
                <a:gd name="adj2" fmla="val -8333"/>
                <a:gd name="adj3" fmla="val 83269"/>
                <a:gd name="adj4" fmla="val -23194"/>
              </a:avLst>
            </a:prstGeom>
            <a:solidFill>
              <a:srgbClr val="0075B3"/>
            </a:solidFill>
            <a:ln/>
          </p:spPr>
          <p:style>
            <a:lnRef idx="1">
              <a:schemeClr val="accent2"/>
            </a:lnRef>
            <a:fillRef idx="3">
              <a:schemeClr val="accent2"/>
            </a:fillRef>
            <a:effectRef idx="2">
              <a:schemeClr val="accent2"/>
            </a:effectRef>
            <a:fontRef idx="minor">
              <a:schemeClr val="lt1"/>
            </a:fontRef>
          </p:style>
          <p:txBody>
            <a:bodyPr rtlCol="0" anchor="ctr"/>
            <a:lstStyle/>
            <a:p>
              <a:pPr algn="ctr" defTabSz="800100">
                <a:lnSpc>
                  <a:spcPct val="90000"/>
                </a:lnSpc>
                <a:spcBef>
                  <a:spcPct val="0"/>
                </a:spcBef>
                <a:spcAft>
                  <a:spcPct val="35000"/>
                </a:spcAft>
              </a:pPr>
              <a:r>
                <a:rPr lang="en-US" sz="1200" dirty="0">
                  <a:cs typeface="Segoe UI" panose="020B0502040204020203" pitchFamily="34" charset="0"/>
                </a:rPr>
                <a:t>Detailed reports and logs of the execution status which is very helpful in case of failure of the script</a:t>
              </a:r>
            </a:p>
          </p:txBody>
        </p:sp>
      </p:grpSp>
      <p:grpSp>
        <p:nvGrpSpPr>
          <p:cNvPr id="65" name="Group 64">
            <a:extLst>
              <a:ext uri="{FF2B5EF4-FFF2-40B4-BE49-F238E27FC236}">
                <a16:creationId xmlns:a16="http://schemas.microsoft.com/office/drawing/2014/main" id="{7463A23A-1625-AD03-CF01-D2B8123DCF54}"/>
              </a:ext>
            </a:extLst>
          </p:cNvPr>
          <p:cNvGrpSpPr/>
          <p:nvPr/>
        </p:nvGrpSpPr>
        <p:grpSpPr>
          <a:xfrm>
            <a:off x="516995" y="2122385"/>
            <a:ext cx="4173715" cy="4084449"/>
            <a:chOff x="1048935" y="2107551"/>
            <a:chExt cx="4173715" cy="4162881"/>
          </a:xfrm>
        </p:grpSpPr>
        <p:sp>
          <p:nvSpPr>
            <p:cNvPr id="58" name="Rounded Rectangle 8">
              <a:extLst>
                <a:ext uri="{FF2B5EF4-FFF2-40B4-BE49-F238E27FC236}">
                  <a16:creationId xmlns:a16="http://schemas.microsoft.com/office/drawing/2014/main" id="{2A22772B-4E94-3460-47B2-5CEA98377773}"/>
                </a:ext>
              </a:extLst>
            </p:cNvPr>
            <p:cNvSpPr/>
            <p:nvPr/>
          </p:nvSpPr>
          <p:spPr>
            <a:xfrm rot="16200000">
              <a:off x="-822299" y="3978785"/>
              <a:ext cx="4162881" cy="420414"/>
            </a:xfrm>
            <a:prstGeom prst="roundRect">
              <a:avLst/>
            </a:prstGeom>
            <a:gradFill>
              <a:gsLst>
                <a:gs pos="0">
                  <a:schemeClr val="tx2"/>
                </a:gs>
                <a:gs pos="52000">
                  <a:schemeClr val="accent2">
                    <a:shade val="93000"/>
                    <a:satMod val="130000"/>
                  </a:schemeClr>
                </a:gs>
                <a:gs pos="100000">
                  <a:schemeClr val="accent2">
                    <a:shade val="94000"/>
                    <a:satMod val="135000"/>
                  </a:schemeClr>
                </a:gs>
              </a:gsLst>
              <a:lin ang="16200000" scaled="0"/>
            </a:gradFill>
            <a:ln>
              <a:noFill/>
            </a:ln>
            <a:effectLst>
              <a:outerShdw blurRad="44450" dist="27940" dir="5400000" algn="ctr">
                <a:srgbClr val="000000">
                  <a:alpha val="32000"/>
                </a:srgbClr>
              </a:outerShdw>
            </a:effectLst>
          </p:spPr>
          <p:style>
            <a:lnRef idx="1">
              <a:schemeClr val="accent1"/>
            </a:lnRef>
            <a:fillRef idx="0">
              <a:schemeClr val="accent1"/>
            </a:fillRef>
            <a:effectRef idx="0">
              <a:schemeClr val="accent1"/>
            </a:effectRef>
            <a:fontRef idx="minor">
              <a:schemeClr val="tx1"/>
            </a:fontRef>
          </p:style>
          <p:txBody>
            <a:bodyPr rtlCol="0" anchor="t"/>
            <a:lstStyle/>
            <a:p>
              <a:pPr algn="ctr"/>
              <a:r>
                <a:rPr lang="en-US" sz="1800" b="1" dirty="0">
                  <a:solidFill>
                    <a:prstClr val="white"/>
                  </a:solidFill>
                  <a:cs typeface="Arial" pitchFamily="34" charset="0"/>
                </a:rPr>
                <a:t>Highlights</a:t>
              </a:r>
            </a:p>
          </p:txBody>
        </p:sp>
        <p:sp>
          <p:nvSpPr>
            <p:cNvPr id="27" name="Callout: Bent Line with Border and Accent Bar 26">
              <a:extLst>
                <a:ext uri="{FF2B5EF4-FFF2-40B4-BE49-F238E27FC236}">
                  <a16:creationId xmlns:a16="http://schemas.microsoft.com/office/drawing/2014/main" id="{5E2603E4-5229-0166-6B34-74D11C3329A9}"/>
                </a:ext>
              </a:extLst>
            </p:cNvPr>
            <p:cNvSpPr/>
            <p:nvPr/>
          </p:nvSpPr>
          <p:spPr>
            <a:xfrm>
              <a:off x="2167276" y="2107552"/>
              <a:ext cx="3021108" cy="573941"/>
            </a:xfrm>
            <a:prstGeom prst="accentBorderCallout2">
              <a:avLst>
                <a:gd name="adj1" fmla="val 18750"/>
                <a:gd name="adj2" fmla="val -8333"/>
                <a:gd name="adj3" fmla="val 18750"/>
                <a:gd name="adj4" fmla="val -16667"/>
                <a:gd name="adj5" fmla="val 94853"/>
                <a:gd name="adj6" fmla="val -21799"/>
              </a:avLst>
            </a:prstGeom>
            <a:solidFill>
              <a:srgbClr val="00B0E3"/>
            </a:solidFill>
            <a:ln>
              <a:solidFill>
                <a:srgbClr val="0075B3"/>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200" dirty="0">
                  <a:solidFill>
                    <a:schemeClr val="bg1"/>
                  </a:solidFill>
                </a:rPr>
                <a:t>Customizable</a:t>
              </a:r>
              <a:endParaRPr lang="en-IN" sz="1200" dirty="0">
                <a:solidFill>
                  <a:schemeClr val="bg1"/>
                </a:solidFill>
              </a:endParaRPr>
            </a:p>
          </p:txBody>
        </p:sp>
        <p:sp>
          <p:nvSpPr>
            <p:cNvPr id="60" name="Callout: Bent Line with Border and Accent Bar 59">
              <a:extLst>
                <a:ext uri="{FF2B5EF4-FFF2-40B4-BE49-F238E27FC236}">
                  <a16:creationId xmlns:a16="http://schemas.microsoft.com/office/drawing/2014/main" id="{94D85221-57AD-E73C-8955-A87440493F8B}"/>
                </a:ext>
              </a:extLst>
            </p:cNvPr>
            <p:cNvSpPr/>
            <p:nvPr/>
          </p:nvSpPr>
          <p:spPr>
            <a:xfrm>
              <a:off x="2201542" y="3009338"/>
              <a:ext cx="3021108" cy="573941"/>
            </a:xfrm>
            <a:prstGeom prst="accentBorderCallout2">
              <a:avLst>
                <a:gd name="adj1" fmla="val 18750"/>
                <a:gd name="adj2" fmla="val -8333"/>
                <a:gd name="adj3" fmla="val 18750"/>
                <a:gd name="adj4" fmla="val -16667"/>
                <a:gd name="adj5" fmla="val 94853"/>
                <a:gd name="adj6" fmla="val -21799"/>
              </a:avLst>
            </a:prstGeom>
            <a:solidFill>
              <a:srgbClr val="00B0E3"/>
            </a:solidFill>
            <a:ln>
              <a:solidFill>
                <a:srgbClr val="0075B3"/>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200" dirty="0">
                  <a:cs typeface="Segoe UI" panose="020B0502040204020203" pitchFamily="34" charset="0"/>
                </a:rPr>
                <a:t>Supports multiple technologies – Java, Oracle, SAP, Mainframe, </a:t>
              </a:r>
              <a:r>
                <a:rPr lang="en-US" sz="1200" dirty="0" err="1">
                  <a:cs typeface="Segoe UI" panose="020B0502040204020203" pitchFamily="34" charset="0"/>
                </a:rPr>
                <a:t>etc</a:t>
              </a:r>
              <a:endParaRPr lang="en-IN" sz="1200" dirty="0">
                <a:solidFill>
                  <a:schemeClr val="bg1"/>
                </a:solidFill>
              </a:endParaRPr>
            </a:p>
          </p:txBody>
        </p:sp>
        <p:sp>
          <p:nvSpPr>
            <p:cNvPr id="61" name="Callout: Bent Line with Border and Accent Bar 60">
              <a:extLst>
                <a:ext uri="{FF2B5EF4-FFF2-40B4-BE49-F238E27FC236}">
                  <a16:creationId xmlns:a16="http://schemas.microsoft.com/office/drawing/2014/main" id="{359B600D-0348-4BB0-A18E-4F78A8E4EAAE}"/>
                </a:ext>
              </a:extLst>
            </p:cNvPr>
            <p:cNvSpPr/>
            <p:nvPr/>
          </p:nvSpPr>
          <p:spPr>
            <a:xfrm>
              <a:off x="2151130" y="3838078"/>
              <a:ext cx="3021108" cy="573941"/>
            </a:xfrm>
            <a:prstGeom prst="accentBorderCallout2">
              <a:avLst>
                <a:gd name="adj1" fmla="val 18750"/>
                <a:gd name="adj2" fmla="val -8333"/>
                <a:gd name="adj3" fmla="val 18750"/>
                <a:gd name="adj4" fmla="val -16667"/>
                <a:gd name="adj5" fmla="val 94853"/>
                <a:gd name="adj6" fmla="val -21799"/>
              </a:avLst>
            </a:prstGeom>
            <a:solidFill>
              <a:srgbClr val="00B0E3"/>
            </a:solidFill>
            <a:ln>
              <a:solidFill>
                <a:srgbClr val="0075B3"/>
              </a:solidFill>
            </a:ln>
          </p:spPr>
          <p:style>
            <a:lnRef idx="0">
              <a:schemeClr val="accent6"/>
            </a:lnRef>
            <a:fillRef idx="3">
              <a:schemeClr val="accent6"/>
            </a:fillRef>
            <a:effectRef idx="3">
              <a:schemeClr val="accent6"/>
            </a:effectRef>
            <a:fontRef idx="minor">
              <a:schemeClr val="lt1"/>
            </a:fontRef>
          </p:style>
          <p:txBody>
            <a:bodyPr rtlCol="0" anchor="ctr"/>
            <a:lstStyle/>
            <a:p>
              <a:pPr marL="0" lvl="0" indent="0" algn="ctr" defTabSz="800100">
                <a:lnSpc>
                  <a:spcPct val="90000"/>
                </a:lnSpc>
                <a:spcBef>
                  <a:spcPct val="0"/>
                </a:spcBef>
                <a:spcAft>
                  <a:spcPct val="35000"/>
                </a:spcAft>
                <a:buNone/>
              </a:pPr>
              <a:r>
                <a:rPr lang="en-US" sz="1200" dirty="0">
                  <a:cs typeface="Segoe UI" panose="020B0502040204020203" pitchFamily="34" charset="0"/>
                </a:rPr>
                <a:t>Provides easy-to read result reports and logs in HTML format.</a:t>
              </a:r>
            </a:p>
          </p:txBody>
        </p:sp>
        <p:sp>
          <p:nvSpPr>
            <p:cNvPr id="62" name="Callout: Bent Line with Border and Accent Bar 61">
              <a:extLst>
                <a:ext uri="{FF2B5EF4-FFF2-40B4-BE49-F238E27FC236}">
                  <a16:creationId xmlns:a16="http://schemas.microsoft.com/office/drawing/2014/main" id="{34A9443A-F9DA-2AC2-EEFA-DEE5E7E7F986}"/>
                </a:ext>
              </a:extLst>
            </p:cNvPr>
            <p:cNvSpPr/>
            <p:nvPr/>
          </p:nvSpPr>
          <p:spPr>
            <a:xfrm>
              <a:off x="2167276" y="4714686"/>
              <a:ext cx="3021108" cy="573941"/>
            </a:xfrm>
            <a:prstGeom prst="accentBorderCallout2">
              <a:avLst>
                <a:gd name="adj1" fmla="val 18750"/>
                <a:gd name="adj2" fmla="val -8333"/>
                <a:gd name="adj3" fmla="val 18750"/>
                <a:gd name="adj4" fmla="val -16667"/>
                <a:gd name="adj5" fmla="val 94853"/>
                <a:gd name="adj6" fmla="val -21799"/>
              </a:avLst>
            </a:prstGeom>
            <a:solidFill>
              <a:srgbClr val="00B0E3"/>
            </a:solidFill>
            <a:ln>
              <a:solidFill>
                <a:srgbClr val="0075B3"/>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800100">
                <a:lnSpc>
                  <a:spcPct val="90000"/>
                </a:lnSpc>
                <a:spcBef>
                  <a:spcPct val="0"/>
                </a:spcBef>
                <a:spcAft>
                  <a:spcPct val="35000"/>
                </a:spcAft>
              </a:pPr>
              <a:r>
                <a:rPr lang="en-US" sz="1200" dirty="0">
                  <a:cs typeface="Segoe UI" panose="020B0502040204020203" pitchFamily="34" charset="0"/>
                </a:rPr>
                <a:t>Easy to use</a:t>
              </a:r>
            </a:p>
          </p:txBody>
        </p:sp>
        <p:sp>
          <p:nvSpPr>
            <p:cNvPr id="64" name="Callout: Bent Line with Border and Accent Bar 63">
              <a:extLst>
                <a:ext uri="{FF2B5EF4-FFF2-40B4-BE49-F238E27FC236}">
                  <a16:creationId xmlns:a16="http://schemas.microsoft.com/office/drawing/2014/main" id="{14D81038-87E3-5C91-1F45-4DD398511F79}"/>
                </a:ext>
              </a:extLst>
            </p:cNvPr>
            <p:cNvSpPr/>
            <p:nvPr/>
          </p:nvSpPr>
          <p:spPr>
            <a:xfrm>
              <a:off x="2151130" y="5616472"/>
              <a:ext cx="3021108" cy="573941"/>
            </a:xfrm>
            <a:prstGeom prst="accentBorderCallout2">
              <a:avLst>
                <a:gd name="adj1" fmla="val 18750"/>
                <a:gd name="adj2" fmla="val -8333"/>
                <a:gd name="adj3" fmla="val 18750"/>
                <a:gd name="adj4" fmla="val -16667"/>
                <a:gd name="adj5" fmla="val 94853"/>
                <a:gd name="adj6" fmla="val -21799"/>
              </a:avLst>
            </a:prstGeom>
            <a:solidFill>
              <a:srgbClr val="00B0E3"/>
            </a:solidFill>
            <a:ln>
              <a:solidFill>
                <a:srgbClr val="0075B3"/>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800100">
                <a:lnSpc>
                  <a:spcPct val="90000"/>
                </a:lnSpc>
                <a:spcBef>
                  <a:spcPct val="0"/>
                </a:spcBef>
                <a:spcAft>
                  <a:spcPct val="35000"/>
                </a:spcAft>
              </a:pPr>
              <a:r>
                <a:rPr lang="en-US" sz="1200" dirty="0">
                  <a:cs typeface="Segoe UI" panose="020B0502040204020203" pitchFamily="34" charset="0"/>
                </a:rPr>
                <a:t>Supports BPT approach</a:t>
              </a:r>
            </a:p>
          </p:txBody>
        </p:sp>
      </p:grpSp>
    </p:spTree>
    <p:extLst>
      <p:ext uri="{BB962C8B-B14F-4D97-AF65-F5344CB8AC3E}">
        <p14:creationId xmlns:p14="http://schemas.microsoft.com/office/powerpoint/2010/main" val="12021973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33EB5-82BB-76AE-D689-993C59695760}"/>
              </a:ext>
            </a:extLst>
          </p:cNvPr>
          <p:cNvSpPr>
            <a:spLocks noGrp="1"/>
          </p:cNvSpPr>
          <p:nvPr>
            <p:ph type="title"/>
          </p:nvPr>
        </p:nvSpPr>
        <p:spPr>
          <a:xfrm>
            <a:off x="2602788" y="43152"/>
            <a:ext cx="7193943" cy="745436"/>
          </a:xfrm>
        </p:spPr>
        <p:txBody>
          <a:bodyPr vert="horz" lIns="0" tIns="0" rIns="0" bIns="0" rtlCol="0" anchor="ctr">
            <a:normAutofit/>
          </a:bodyPr>
          <a:lstStyle/>
          <a:p>
            <a:pPr>
              <a:lnSpc>
                <a:spcPts val="3000"/>
              </a:lnSpc>
            </a:pPr>
            <a:r>
              <a:rPr lang="en-IN" sz="2000" b="1" dirty="0">
                <a:solidFill>
                  <a:srgbClr val="00B0F0"/>
                </a:solidFill>
                <a:latin typeface="+mn-lt"/>
                <a:ea typeface="ＭＳ Ｐゴシック"/>
              </a:rPr>
              <a:t>Hybrid Driven Automation Framework : High level Architecture</a:t>
            </a:r>
          </a:p>
        </p:txBody>
      </p:sp>
      <p:sp>
        <p:nvSpPr>
          <p:cNvPr id="5" name="TextBox 4">
            <a:extLst>
              <a:ext uri="{FF2B5EF4-FFF2-40B4-BE49-F238E27FC236}">
                <a16:creationId xmlns:a16="http://schemas.microsoft.com/office/drawing/2014/main" id="{FF74561B-90E1-C808-36B0-F9E428B476ED}"/>
              </a:ext>
            </a:extLst>
          </p:cNvPr>
          <p:cNvSpPr txBox="1"/>
          <p:nvPr/>
        </p:nvSpPr>
        <p:spPr>
          <a:xfrm>
            <a:off x="398021" y="1494769"/>
            <a:ext cx="5801739" cy="4643751"/>
          </a:xfrm>
          <a:prstGeom prst="rect">
            <a:avLst/>
          </a:prstGeom>
        </p:spPr>
        <p:txBody>
          <a:bodyPr vert="horz" lIns="92038" tIns="61358" rIns="61358" bIns="61358" rtlCol="0">
            <a:normAutofit/>
          </a:bodyPr>
          <a:lstStyle/>
          <a:p>
            <a:pPr marL="386324" lvl="0" indent="-386324" defTabSz="1326023">
              <a:spcAft>
                <a:spcPts val="870"/>
              </a:spcAft>
              <a:buClr>
                <a:schemeClr val="accent2"/>
              </a:buClr>
              <a:buFont typeface="Wingdings" pitchFamily="2" charset="2"/>
              <a:buChar char="§"/>
            </a:pPr>
            <a:endParaRPr lang="en-US" sz="1200" b="0" kern="1200" spc="-119" baseline="0" dirty="0">
              <a:effectLst/>
            </a:endParaRPr>
          </a:p>
        </p:txBody>
      </p:sp>
      <p:sp>
        <p:nvSpPr>
          <p:cNvPr id="8" name="TextBox 7">
            <a:extLst>
              <a:ext uri="{FF2B5EF4-FFF2-40B4-BE49-F238E27FC236}">
                <a16:creationId xmlns:a16="http://schemas.microsoft.com/office/drawing/2014/main" id="{7303BA0C-EB86-BB20-7746-340BF1CE3ECA}"/>
              </a:ext>
            </a:extLst>
          </p:cNvPr>
          <p:cNvSpPr txBox="1"/>
          <p:nvPr/>
        </p:nvSpPr>
        <p:spPr>
          <a:xfrm>
            <a:off x="417271" y="5260662"/>
            <a:ext cx="10582036" cy="954107"/>
          </a:xfrm>
          <a:prstGeom prst="rect">
            <a:avLst/>
          </a:prstGeom>
          <a:noFill/>
        </p:spPr>
        <p:txBody>
          <a:bodyPr wrap="square" rtlCol="0">
            <a:spAutoFit/>
          </a:bodyPr>
          <a:lstStyle/>
          <a:p>
            <a:pPr marL="285750" indent="-285750">
              <a:buFont typeface="Wingdings" panose="05000000000000000000" pitchFamily="2" charset="2"/>
              <a:buChar char="v"/>
            </a:pPr>
            <a:r>
              <a:rPr lang="en-US" sz="1400" b="0" i="0" dirty="0">
                <a:solidFill>
                  <a:srgbClr val="000000"/>
                </a:solidFill>
                <a:effectLst/>
              </a:rPr>
              <a:t>The </a:t>
            </a:r>
            <a:r>
              <a:rPr lang="en-US" sz="1400" dirty="0">
                <a:solidFill>
                  <a:srgbClr val="000000"/>
                </a:solidFill>
              </a:rPr>
              <a:t>test-data is supplied in simple, easy-to-edit excel format. When Hybrid automation  Driven Framework is started, it processes the data, keywords and their related functions from functional library and executes test cases and generates logs and reports. </a:t>
            </a:r>
          </a:p>
          <a:p>
            <a:pPr marL="285750" indent="-285750">
              <a:buFont typeface="Wingdings" panose="05000000000000000000" pitchFamily="2" charset="2"/>
              <a:buChar char="v"/>
            </a:pPr>
            <a:r>
              <a:rPr lang="en-US" sz="1400" dirty="0">
                <a:solidFill>
                  <a:srgbClr val="000000"/>
                </a:solidFill>
              </a:rPr>
              <a:t>The core framework does not know anything about the target under test, and the interaction with it is handled by libraries.</a:t>
            </a:r>
          </a:p>
        </p:txBody>
      </p:sp>
      <p:pic>
        <p:nvPicPr>
          <p:cNvPr id="19" name="Picture 18">
            <a:extLst>
              <a:ext uri="{FF2B5EF4-FFF2-40B4-BE49-F238E27FC236}">
                <a16:creationId xmlns:a16="http://schemas.microsoft.com/office/drawing/2014/main" id="{A36BCCD8-C994-BA02-2941-D03BFB87393B}"/>
              </a:ext>
            </a:extLst>
          </p:cNvPr>
          <p:cNvPicPr>
            <a:picLocks noChangeAspect="1"/>
          </p:cNvPicPr>
          <p:nvPr/>
        </p:nvPicPr>
        <p:blipFill>
          <a:blip r:embed="rId2"/>
          <a:stretch>
            <a:fillRect/>
          </a:stretch>
        </p:blipFill>
        <p:spPr>
          <a:xfrm>
            <a:off x="3237574" y="719480"/>
            <a:ext cx="5588792" cy="4541182"/>
          </a:xfrm>
          <a:prstGeom prst="rect">
            <a:avLst/>
          </a:prstGeom>
        </p:spPr>
      </p:pic>
    </p:spTree>
    <p:extLst>
      <p:ext uri="{BB962C8B-B14F-4D97-AF65-F5344CB8AC3E}">
        <p14:creationId xmlns:p14="http://schemas.microsoft.com/office/powerpoint/2010/main" val="824663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ounded Rectangle 29">
            <a:extLst>
              <a:ext uri="{FF2B5EF4-FFF2-40B4-BE49-F238E27FC236}">
                <a16:creationId xmlns:a16="http://schemas.microsoft.com/office/drawing/2014/main" id="{6D36765E-7D0E-9EA9-0856-7C584685D8A5}"/>
              </a:ext>
            </a:extLst>
          </p:cNvPr>
          <p:cNvSpPr/>
          <p:nvPr/>
        </p:nvSpPr>
        <p:spPr bwMode="auto">
          <a:xfrm>
            <a:off x="497180" y="1357566"/>
            <a:ext cx="2006634" cy="756707"/>
          </a:xfrm>
          <a:prstGeom prst="roundRect">
            <a:avLst/>
          </a:prstGeom>
          <a:solidFill>
            <a:schemeClr val="accent1">
              <a:lumMod val="20000"/>
              <a:lumOff val="80000"/>
            </a:schemeClr>
          </a:solidFill>
          <a:ln>
            <a:noFill/>
            <a:headEnd type="none" w="sm" len="sm"/>
            <a:tailEnd type="none" w="sm" len="sm"/>
          </a:ln>
          <a:effectLst>
            <a:outerShdw blurRad="107950" dist="12700" dir="5400000" algn="ctr">
              <a:srgbClr val="000000"/>
            </a:outerShdw>
          </a:effectLst>
          <a:scene3d>
            <a:camera prst="orthographicFront">
              <a:rot lat="0" lon="0" rev="0"/>
            </a:camera>
            <a:lightRig rig="soft" dir="tl">
              <a:rot lat="0" lon="0" rev="0"/>
            </a:lightRig>
          </a:scene3d>
          <a:sp3d contourW="44450" prstMaterial="matte">
            <a:bevelT w="63500" h="63500" prst="artDeco"/>
            <a:contourClr>
              <a:srgbClr val="FFFFFF"/>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GE Inspira Sans"/>
              <a:ea typeface="+mn-ea"/>
              <a:cs typeface="+mn-cs"/>
            </a:endParaRPr>
          </a:p>
        </p:txBody>
      </p:sp>
      <p:sp>
        <p:nvSpPr>
          <p:cNvPr id="33" name="Rounded Rectangle 29">
            <a:extLst>
              <a:ext uri="{FF2B5EF4-FFF2-40B4-BE49-F238E27FC236}">
                <a16:creationId xmlns:a16="http://schemas.microsoft.com/office/drawing/2014/main" id="{476D7A87-2798-A737-71CB-21BA95826795}"/>
              </a:ext>
            </a:extLst>
          </p:cNvPr>
          <p:cNvSpPr/>
          <p:nvPr/>
        </p:nvSpPr>
        <p:spPr bwMode="auto">
          <a:xfrm>
            <a:off x="2073462" y="4616173"/>
            <a:ext cx="3392332" cy="993763"/>
          </a:xfrm>
          <a:prstGeom prst="roundRect">
            <a:avLst/>
          </a:prstGeom>
          <a:solidFill>
            <a:schemeClr val="accent1">
              <a:lumMod val="20000"/>
              <a:lumOff val="80000"/>
            </a:schemeClr>
          </a:solidFill>
          <a:ln>
            <a:noFill/>
            <a:headEnd type="none" w="sm" len="sm"/>
            <a:tailEnd type="none" w="sm" len="sm"/>
          </a:ln>
          <a:effectLst>
            <a:outerShdw blurRad="107950" dist="12700" dir="5400000" algn="ctr">
              <a:srgbClr val="000000"/>
            </a:outerShdw>
          </a:effectLst>
          <a:scene3d>
            <a:camera prst="orthographicFront">
              <a:rot lat="0" lon="0" rev="0"/>
            </a:camera>
            <a:lightRig rig="soft" dir="tl">
              <a:rot lat="0" lon="0" rev="0"/>
            </a:lightRig>
          </a:scene3d>
          <a:sp3d contourW="44450" prstMaterial="matte">
            <a:bevelT w="63500" h="63500" prst="artDeco"/>
            <a:contourClr>
              <a:srgbClr val="FFFFFF"/>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GE Inspira Sans"/>
              <a:ea typeface="+mn-ea"/>
              <a:cs typeface="+mn-cs"/>
            </a:endParaRPr>
          </a:p>
        </p:txBody>
      </p:sp>
      <p:sp>
        <p:nvSpPr>
          <p:cNvPr id="35" name="TextBox 34">
            <a:extLst>
              <a:ext uri="{FF2B5EF4-FFF2-40B4-BE49-F238E27FC236}">
                <a16:creationId xmlns:a16="http://schemas.microsoft.com/office/drawing/2014/main" id="{7594356E-655A-C175-212E-F2AC836648DB}"/>
              </a:ext>
            </a:extLst>
          </p:cNvPr>
          <p:cNvSpPr txBox="1"/>
          <p:nvPr/>
        </p:nvSpPr>
        <p:spPr>
          <a:xfrm>
            <a:off x="1163777" y="1524696"/>
            <a:ext cx="2405270" cy="338554"/>
          </a:xfrm>
          <a:prstGeom prst="rect">
            <a:avLst/>
          </a:prstGeom>
          <a:noFill/>
        </p:spPr>
        <p:txBody>
          <a:bodyPr wrap="square" rtlCol="0">
            <a:spAutoFit/>
          </a:bodyPr>
          <a:lstStyle/>
          <a:p>
            <a:pPr marL="171450" indent="-171450">
              <a:buFont typeface="Arial"/>
              <a:buChar char="•"/>
            </a:pPr>
            <a:r>
              <a:rPr lang="en-US" sz="800" i="1" dirty="0">
                <a:solidFill>
                  <a:srgbClr val="1E4191"/>
                </a:solidFill>
              </a:rPr>
              <a:t>Test Script Designing</a:t>
            </a:r>
          </a:p>
          <a:p>
            <a:pPr marL="171450" indent="-171450">
              <a:buFont typeface="Arial"/>
              <a:buChar char="•"/>
            </a:pPr>
            <a:r>
              <a:rPr lang="en-US" sz="800" i="1" dirty="0">
                <a:solidFill>
                  <a:srgbClr val="1E4191"/>
                </a:solidFill>
              </a:rPr>
              <a:t>Test Execution</a:t>
            </a:r>
          </a:p>
        </p:txBody>
      </p:sp>
      <p:sp>
        <p:nvSpPr>
          <p:cNvPr id="61" name="TextBox 60">
            <a:extLst>
              <a:ext uri="{FF2B5EF4-FFF2-40B4-BE49-F238E27FC236}">
                <a16:creationId xmlns:a16="http://schemas.microsoft.com/office/drawing/2014/main" id="{19AA65A0-5229-6533-CB20-2FF2A6E71589}"/>
              </a:ext>
            </a:extLst>
          </p:cNvPr>
          <p:cNvSpPr txBox="1"/>
          <p:nvPr/>
        </p:nvSpPr>
        <p:spPr>
          <a:xfrm>
            <a:off x="2290180" y="182988"/>
            <a:ext cx="10292985" cy="521097"/>
          </a:xfrm>
          <a:prstGeom prst="rect">
            <a:avLst/>
          </a:prstGeom>
          <a:noFill/>
        </p:spPr>
        <p:txBody>
          <a:bodyPr wrap="square" rtlCol="0">
            <a:noAutofit/>
          </a:bodyPr>
          <a:lstStyle/>
          <a:p>
            <a:pPr>
              <a:spcBef>
                <a:spcPts val="1200"/>
              </a:spcBef>
            </a:pPr>
            <a:r>
              <a:rPr lang="en-US" sz="2000" b="1" dirty="0">
                <a:solidFill>
                  <a:srgbClr val="00B0F0"/>
                </a:solidFill>
                <a:ea typeface="ＭＳ Ｐゴシック"/>
                <a:cs typeface="Segoe UI" panose="020B0502040204020203" pitchFamily="34" charset="0"/>
              </a:rPr>
              <a:t>Case Study- Project Automation Approach  </a:t>
            </a:r>
            <a:r>
              <a:rPr lang="en-IN" sz="2000" b="1" dirty="0">
                <a:solidFill>
                  <a:srgbClr val="00B0F0"/>
                </a:solidFill>
                <a:latin typeface="+mj-lt"/>
              </a:rPr>
              <a:t>: CPQ Application</a:t>
            </a:r>
            <a:endParaRPr lang="en-IN" sz="1000" b="1" dirty="0">
              <a:solidFill>
                <a:srgbClr val="00B0F0"/>
              </a:solidFill>
            </a:endParaRPr>
          </a:p>
        </p:txBody>
      </p:sp>
      <p:cxnSp>
        <p:nvCxnSpPr>
          <p:cNvPr id="94" name="Connector: Elbow 93">
            <a:extLst>
              <a:ext uri="{FF2B5EF4-FFF2-40B4-BE49-F238E27FC236}">
                <a16:creationId xmlns:a16="http://schemas.microsoft.com/office/drawing/2014/main" id="{C04CCAAE-61E0-BF2D-EE86-09E826EA6796}"/>
              </a:ext>
            </a:extLst>
          </p:cNvPr>
          <p:cNvCxnSpPr>
            <a:cxnSpLocks/>
          </p:cNvCxnSpPr>
          <p:nvPr/>
        </p:nvCxnSpPr>
        <p:spPr>
          <a:xfrm>
            <a:off x="1369620" y="2176348"/>
            <a:ext cx="1522119" cy="949785"/>
          </a:xfrm>
          <a:prstGeom prst="bentConnector3">
            <a:avLst>
              <a:gd name="adj1" fmla="val 726"/>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3B8C9745-E6C7-19F6-37AB-E2A1571C211B}"/>
              </a:ext>
            </a:extLst>
          </p:cNvPr>
          <p:cNvPicPr>
            <a:picLocks noChangeAspect="1"/>
          </p:cNvPicPr>
          <p:nvPr/>
        </p:nvPicPr>
        <p:blipFill>
          <a:blip r:embed="rId2"/>
          <a:stretch>
            <a:fillRect/>
          </a:stretch>
        </p:blipFill>
        <p:spPr>
          <a:xfrm>
            <a:off x="549780" y="1421722"/>
            <a:ext cx="797465" cy="517834"/>
          </a:xfrm>
          <a:prstGeom prst="rect">
            <a:avLst/>
          </a:prstGeom>
        </p:spPr>
      </p:pic>
      <p:sp>
        <p:nvSpPr>
          <p:cNvPr id="7" name="Rounded Rectangle 29">
            <a:extLst>
              <a:ext uri="{FF2B5EF4-FFF2-40B4-BE49-F238E27FC236}">
                <a16:creationId xmlns:a16="http://schemas.microsoft.com/office/drawing/2014/main" id="{EA8DA528-0382-A26B-AF35-5403BC429128}"/>
              </a:ext>
            </a:extLst>
          </p:cNvPr>
          <p:cNvSpPr/>
          <p:nvPr/>
        </p:nvSpPr>
        <p:spPr bwMode="auto">
          <a:xfrm>
            <a:off x="2952173" y="2663472"/>
            <a:ext cx="1361035" cy="640035"/>
          </a:xfrm>
          <a:prstGeom prst="roundRect">
            <a:avLst/>
          </a:prstGeom>
          <a:solidFill>
            <a:schemeClr val="accent1">
              <a:lumMod val="20000"/>
              <a:lumOff val="80000"/>
            </a:schemeClr>
          </a:solidFill>
          <a:ln>
            <a:noFill/>
            <a:headEnd type="none" w="sm" len="sm"/>
            <a:tailEnd type="none" w="sm" len="sm"/>
          </a:ln>
          <a:effectLst>
            <a:outerShdw blurRad="107950" dist="12700" dir="5400000" algn="ctr">
              <a:srgbClr val="000000"/>
            </a:outerShdw>
          </a:effectLst>
          <a:scene3d>
            <a:camera prst="orthographicFront">
              <a:rot lat="0" lon="0" rev="0"/>
            </a:camera>
            <a:lightRig rig="soft" dir="tl">
              <a:rot lat="0" lon="0" rev="0"/>
            </a:lightRig>
          </a:scene3d>
          <a:sp3d contourW="44450" prstMaterial="matte">
            <a:bevelT w="63500" h="63500" prst="artDeco"/>
            <a:contourClr>
              <a:srgbClr val="FFFFFF"/>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GE Inspira Sans"/>
              <a:ea typeface="+mn-ea"/>
              <a:cs typeface="+mn-cs"/>
            </a:endParaRPr>
          </a:p>
        </p:txBody>
      </p:sp>
      <p:pic>
        <p:nvPicPr>
          <p:cNvPr id="13" name="Picture 12">
            <a:extLst>
              <a:ext uri="{FF2B5EF4-FFF2-40B4-BE49-F238E27FC236}">
                <a16:creationId xmlns:a16="http://schemas.microsoft.com/office/drawing/2014/main" id="{2C010D59-5CBB-2943-81F3-4339779C9337}"/>
              </a:ext>
            </a:extLst>
          </p:cNvPr>
          <p:cNvPicPr>
            <a:picLocks noChangeAspect="1"/>
          </p:cNvPicPr>
          <p:nvPr/>
        </p:nvPicPr>
        <p:blipFill>
          <a:blip r:embed="rId3"/>
          <a:stretch>
            <a:fillRect/>
          </a:stretch>
        </p:blipFill>
        <p:spPr>
          <a:xfrm>
            <a:off x="3370640" y="2744532"/>
            <a:ext cx="577942" cy="477913"/>
          </a:xfrm>
          <a:prstGeom prst="rect">
            <a:avLst/>
          </a:prstGeom>
        </p:spPr>
      </p:pic>
      <p:sp>
        <p:nvSpPr>
          <p:cNvPr id="26" name="TextBox 25">
            <a:extLst>
              <a:ext uri="{FF2B5EF4-FFF2-40B4-BE49-F238E27FC236}">
                <a16:creationId xmlns:a16="http://schemas.microsoft.com/office/drawing/2014/main" id="{1310CD6B-C6AF-25D4-2268-35376C2CB820}"/>
              </a:ext>
            </a:extLst>
          </p:cNvPr>
          <p:cNvSpPr txBox="1"/>
          <p:nvPr/>
        </p:nvSpPr>
        <p:spPr>
          <a:xfrm>
            <a:off x="2925696" y="3300987"/>
            <a:ext cx="1533345"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GE Inspira Sans"/>
                <a:ea typeface="+mn-ea"/>
                <a:cs typeface="+mn-cs"/>
              </a:rPr>
              <a:t>Repository</a:t>
            </a:r>
          </a:p>
        </p:txBody>
      </p:sp>
      <p:cxnSp>
        <p:nvCxnSpPr>
          <p:cNvPr id="62" name="Straight Connector 61">
            <a:extLst>
              <a:ext uri="{FF2B5EF4-FFF2-40B4-BE49-F238E27FC236}">
                <a16:creationId xmlns:a16="http://schemas.microsoft.com/office/drawing/2014/main" id="{8B17631F-CA18-32AE-7097-E2D14B5BE5FE}"/>
              </a:ext>
            </a:extLst>
          </p:cNvPr>
          <p:cNvCxnSpPr/>
          <p:nvPr/>
        </p:nvCxnSpPr>
        <p:spPr>
          <a:xfrm>
            <a:off x="2801837" y="4054415"/>
            <a:ext cx="1821921" cy="0"/>
          </a:xfrm>
          <a:prstGeom prst="line">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7565242C-3074-6450-24F5-C60915E6966E}"/>
              </a:ext>
            </a:extLst>
          </p:cNvPr>
          <p:cNvCxnSpPr>
            <a:cxnSpLocks/>
          </p:cNvCxnSpPr>
          <p:nvPr/>
        </p:nvCxnSpPr>
        <p:spPr>
          <a:xfrm flipH="1">
            <a:off x="3659610" y="3528520"/>
            <a:ext cx="1" cy="50720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0E651E79-4094-031B-96F7-5516B1FA0C06}"/>
              </a:ext>
            </a:extLst>
          </p:cNvPr>
          <p:cNvCxnSpPr>
            <a:cxnSpLocks/>
          </p:cNvCxnSpPr>
          <p:nvPr/>
        </p:nvCxnSpPr>
        <p:spPr>
          <a:xfrm>
            <a:off x="2842357" y="4054415"/>
            <a:ext cx="0" cy="50720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A9281E0F-A723-134B-525A-5F0262EE79B4}"/>
              </a:ext>
            </a:extLst>
          </p:cNvPr>
          <p:cNvCxnSpPr>
            <a:cxnSpLocks/>
          </p:cNvCxnSpPr>
          <p:nvPr/>
        </p:nvCxnSpPr>
        <p:spPr>
          <a:xfrm flipH="1">
            <a:off x="3661341" y="4079181"/>
            <a:ext cx="1" cy="50720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82025AC-2A5C-5E80-7E2B-EFD00998D0F1}"/>
              </a:ext>
            </a:extLst>
          </p:cNvPr>
          <p:cNvCxnSpPr>
            <a:cxnSpLocks/>
          </p:cNvCxnSpPr>
          <p:nvPr/>
        </p:nvCxnSpPr>
        <p:spPr>
          <a:xfrm flipH="1">
            <a:off x="4580757" y="4078285"/>
            <a:ext cx="1" cy="50720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85" name="Picture 84">
            <a:extLst>
              <a:ext uri="{FF2B5EF4-FFF2-40B4-BE49-F238E27FC236}">
                <a16:creationId xmlns:a16="http://schemas.microsoft.com/office/drawing/2014/main" id="{F96FD749-AB20-23DA-D6CC-8FAD34CF74D9}"/>
              </a:ext>
            </a:extLst>
          </p:cNvPr>
          <p:cNvPicPr>
            <a:picLocks noChangeAspect="1"/>
          </p:cNvPicPr>
          <p:nvPr/>
        </p:nvPicPr>
        <p:blipFill>
          <a:blip r:embed="rId4"/>
          <a:stretch>
            <a:fillRect/>
          </a:stretch>
        </p:blipFill>
        <p:spPr>
          <a:xfrm>
            <a:off x="2652006" y="4631786"/>
            <a:ext cx="380701" cy="418771"/>
          </a:xfrm>
          <a:prstGeom prst="rect">
            <a:avLst/>
          </a:prstGeom>
        </p:spPr>
      </p:pic>
      <p:sp>
        <p:nvSpPr>
          <p:cNvPr id="89" name="TextBox 88">
            <a:extLst>
              <a:ext uri="{FF2B5EF4-FFF2-40B4-BE49-F238E27FC236}">
                <a16:creationId xmlns:a16="http://schemas.microsoft.com/office/drawing/2014/main" id="{713CDCA0-8D26-03EE-0851-BDA39957C162}"/>
              </a:ext>
            </a:extLst>
          </p:cNvPr>
          <p:cNvSpPr txBox="1"/>
          <p:nvPr/>
        </p:nvSpPr>
        <p:spPr>
          <a:xfrm>
            <a:off x="2130680" y="5050557"/>
            <a:ext cx="1231995" cy="461665"/>
          </a:xfrm>
          <a:prstGeom prst="rect">
            <a:avLst/>
          </a:prstGeom>
          <a:noFill/>
        </p:spPr>
        <p:txBody>
          <a:bodyPr wrap="square" rtlCol="0">
            <a:spAutoFit/>
          </a:bodyPr>
          <a:lstStyle/>
          <a:p>
            <a:pPr marL="171450" indent="-171450">
              <a:buFont typeface="Arial"/>
              <a:buChar char="•"/>
            </a:pPr>
            <a:r>
              <a:rPr lang="en-US" sz="800" b="1" i="1" dirty="0">
                <a:solidFill>
                  <a:srgbClr val="1E4191"/>
                </a:solidFill>
              </a:rPr>
              <a:t>Function Libraries</a:t>
            </a:r>
          </a:p>
          <a:p>
            <a:pPr marL="171450" indent="-171450">
              <a:buFont typeface="Arial"/>
              <a:buChar char="•"/>
            </a:pPr>
            <a:r>
              <a:rPr lang="en-US" sz="800" b="1" i="1" dirty="0">
                <a:solidFill>
                  <a:srgbClr val="1E4191"/>
                </a:solidFill>
              </a:rPr>
              <a:t>Test Scripts</a:t>
            </a:r>
          </a:p>
          <a:p>
            <a:pPr marL="171450" indent="-171450">
              <a:buFont typeface="Arial"/>
              <a:buChar char="•"/>
            </a:pPr>
            <a:r>
              <a:rPr lang="en-US" sz="800" b="1" i="1" dirty="0">
                <a:solidFill>
                  <a:srgbClr val="1E4191"/>
                </a:solidFill>
              </a:rPr>
              <a:t>Driver</a:t>
            </a:r>
          </a:p>
        </p:txBody>
      </p:sp>
      <p:pic>
        <p:nvPicPr>
          <p:cNvPr id="90" name="Picture 89">
            <a:extLst>
              <a:ext uri="{FF2B5EF4-FFF2-40B4-BE49-F238E27FC236}">
                <a16:creationId xmlns:a16="http://schemas.microsoft.com/office/drawing/2014/main" id="{1CB7B582-7CA5-B104-DFCC-A88A593EA72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19892" y="4623751"/>
            <a:ext cx="482899" cy="482899"/>
          </a:xfrm>
          <a:prstGeom prst="rect">
            <a:avLst/>
          </a:prstGeom>
        </p:spPr>
      </p:pic>
      <p:sp>
        <p:nvSpPr>
          <p:cNvPr id="92" name="TextBox 91">
            <a:extLst>
              <a:ext uri="{FF2B5EF4-FFF2-40B4-BE49-F238E27FC236}">
                <a16:creationId xmlns:a16="http://schemas.microsoft.com/office/drawing/2014/main" id="{BADBBAB5-F211-4524-0722-89AF733E651E}"/>
              </a:ext>
            </a:extLst>
          </p:cNvPr>
          <p:cNvSpPr txBox="1"/>
          <p:nvPr/>
        </p:nvSpPr>
        <p:spPr>
          <a:xfrm>
            <a:off x="3306454" y="5107443"/>
            <a:ext cx="1113513" cy="215444"/>
          </a:xfrm>
          <a:prstGeom prst="rect">
            <a:avLst/>
          </a:prstGeom>
          <a:noFill/>
        </p:spPr>
        <p:txBody>
          <a:bodyPr wrap="square" rtlCol="0">
            <a:spAutoFit/>
          </a:bodyPr>
          <a:lstStyle/>
          <a:p>
            <a:r>
              <a:rPr lang="en-US" sz="800" b="1" i="1" dirty="0">
                <a:solidFill>
                  <a:srgbClr val="1E4191"/>
                </a:solidFill>
              </a:rPr>
              <a:t>Test Data</a:t>
            </a:r>
          </a:p>
        </p:txBody>
      </p:sp>
      <p:pic>
        <p:nvPicPr>
          <p:cNvPr id="95" name="Picture 94">
            <a:extLst>
              <a:ext uri="{FF2B5EF4-FFF2-40B4-BE49-F238E27FC236}">
                <a16:creationId xmlns:a16="http://schemas.microsoft.com/office/drawing/2014/main" id="{898E3F18-8138-6BF3-83E3-C8D152A6695E}"/>
              </a:ext>
            </a:extLst>
          </p:cNvPr>
          <p:cNvPicPr>
            <a:picLocks noChangeAspect="1"/>
          </p:cNvPicPr>
          <p:nvPr/>
        </p:nvPicPr>
        <p:blipFill>
          <a:blip r:embed="rId6"/>
          <a:stretch>
            <a:fillRect/>
          </a:stretch>
        </p:blipFill>
        <p:spPr>
          <a:xfrm>
            <a:off x="4380092" y="4670093"/>
            <a:ext cx="317159" cy="383431"/>
          </a:xfrm>
          <a:prstGeom prst="rect">
            <a:avLst/>
          </a:prstGeom>
        </p:spPr>
      </p:pic>
      <p:sp>
        <p:nvSpPr>
          <p:cNvPr id="96" name="TextBox 95">
            <a:extLst>
              <a:ext uri="{FF2B5EF4-FFF2-40B4-BE49-F238E27FC236}">
                <a16:creationId xmlns:a16="http://schemas.microsoft.com/office/drawing/2014/main" id="{A3D9CD3D-6045-8120-B15F-152C909299F3}"/>
              </a:ext>
            </a:extLst>
          </p:cNvPr>
          <p:cNvSpPr txBox="1"/>
          <p:nvPr/>
        </p:nvSpPr>
        <p:spPr>
          <a:xfrm>
            <a:off x="4250395" y="5104276"/>
            <a:ext cx="1113513" cy="215444"/>
          </a:xfrm>
          <a:prstGeom prst="rect">
            <a:avLst/>
          </a:prstGeom>
          <a:noFill/>
        </p:spPr>
        <p:txBody>
          <a:bodyPr wrap="square" rtlCol="0">
            <a:spAutoFit/>
          </a:bodyPr>
          <a:lstStyle/>
          <a:p>
            <a:r>
              <a:rPr lang="en-IN" sz="800" b="1" i="1" dirty="0">
                <a:solidFill>
                  <a:srgbClr val="1E4191"/>
                </a:solidFill>
              </a:rPr>
              <a:t>HTML R</a:t>
            </a:r>
            <a:r>
              <a:rPr lang="en-US" sz="800" b="1" i="1" dirty="0">
                <a:solidFill>
                  <a:srgbClr val="1E4191"/>
                </a:solidFill>
              </a:rPr>
              <a:t>esults</a:t>
            </a:r>
          </a:p>
        </p:txBody>
      </p:sp>
      <p:pic>
        <p:nvPicPr>
          <p:cNvPr id="101" name="Picture 100">
            <a:extLst>
              <a:ext uri="{FF2B5EF4-FFF2-40B4-BE49-F238E27FC236}">
                <a16:creationId xmlns:a16="http://schemas.microsoft.com/office/drawing/2014/main" id="{7A3BBE4A-B10D-D2D3-F15D-0C5C6847B6C4}"/>
              </a:ext>
            </a:extLst>
          </p:cNvPr>
          <p:cNvPicPr>
            <a:picLocks noChangeAspect="1"/>
          </p:cNvPicPr>
          <p:nvPr/>
        </p:nvPicPr>
        <p:blipFill>
          <a:blip r:embed="rId7"/>
          <a:stretch>
            <a:fillRect/>
          </a:stretch>
        </p:blipFill>
        <p:spPr>
          <a:xfrm>
            <a:off x="6069605" y="2568438"/>
            <a:ext cx="1498639" cy="1497960"/>
          </a:xfrm>
          <a:prstGeom prst="rect">
            <a:avLst/>
          </a:prstGeom>
        </p:spPr>
      </p:pic>
      <p:cxnSp>
        <p:nvCxnSpPr>
          <p:cNvPr id="103" name="Connector: Elbow 102">
            <a:extLst>
              <a:ext uri="{FF2B5EF4-FFF2-40B4-BE49-F238E27FC236}">
                <a16:creationId xmlns:a16="http://schemas.microsoft.com/office/drawing/2014/main" id="{BC094604-38DC-979B-91F8-095D79BB7275}"/>
              </a:ext>
            </a:extLst>
          </p:cNvPr>
          <p:cNvCxnSpPr>
            <a:cxnSpLocks/>
          </p:cNvCxnSpPr>
          <p:nvPr/>
        </p:nvCxnSpPr>
        <p:spPr>
          <a:xfrm>
            <a:off x="2503814" y="1771931"/>
            <a:ext cx="4386874" cy="756707"/>
          </a:xfrm>
          <a:prstGeom prst="bentConnector3">
            <a:avLst>
              <a:gd name="adj1" fmla="val 100144"/>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10" name="Connector: Elbow 109">
            <a:extLst>
              <a:ext uri="{FF2B5EF4-FFF2-40B4-BE49-F238E27FC236}">
                <a16:creationId xmlns:a16="http://schemas.microsoft.com/office/drawing/2014/main" id="{45050433-946D-560B-C994-26C8FC83EF34}"/>
              </a:ext>
            </a:extLst>
          </p:cNvPr>
          <p:cNvCxnSpPr>
            <a:cxnSpLocks/>
          </p:cNvCxnSpPr>
          <p:nvPr/>
        </p:nvCxnSpPr>
        <p:spPr>
          <a:xfrm flipV="1">
            <a:off x="5513355" y="4047441"/>
            <a:ext cx="1438635" cy="910559"/>
          </a:xfrm>
          <a:prstGeom prst="bentConnector3">
            <a:avLst>
              <a:gd name="adj1" fmla="val 100368"/>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24" name="Picture 123">
            <a:extLst>
              <a:ext uri="{FF2B5EF4-FFF2-40B4-BE49-F238E27FC236}">
                <a16:creationId xmlns:a16="http://schemas.microsoft.com/office/drawing/2014/main" id="{63A6F7B9-89CF-B529-8C0A-F3AF2282CBAA}"/>
              </a:ext>
            </a:extLst>
          </p:cNvPr>
          <p:cNvPicPr>
            <a:picLocks noChangeAspect="1"/>
          </p:cNvPicPr>
          <p:nvPr/>
        </p:nvPicPr>
        <p:blipFill>
          <a:blip r:embed="rId8"/>
          <a:stretch>
            <a:fillRect/>
          </a:stretch>
        </p:blipFill>
        <p:spPr>
          <a:xfrm>
            <a:off x="8545892" y="2461598"/>
            <a:ext cx="3110592" cy="1871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25" name="Straight Arrow Connector 124">
            <a:extLst>
              <a:ext uri="{FF2B5EF4-FFF2-40B4-BE49-F238E27FC236}">
                <a16:creationId xmlns:a16="http://schemas.microsoft.com/office/drawing/2014/main" id="{27FE6C8F-F311-31C3-DCAA-FB5619D053DD}"/>
              </a:ext>
            </a:extLst>
          </p:cNvPr>
          <p:cNvCxnSpPr>
            <a:cxnSpLocks/>
          </p:cNvCxnSpPr>
          <p:nvPr/>
        </p:nvCxnSpPr>
        <p:spPr>
          <a:xfrm>
            <a:off x="7568244" y="3379180"/>
            <a:ext cx="859764"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30" name="Rounded Rectangle 29">
            <a:extLst>
              <a:ext uri="{FF2B5EF4-FFF2-40B4-BE49-F238E27FC236}">
                <a16:creationId xmlns:a16="http://schemas.microsoft.com/office/drawing/2014/main" id="{C72C708C-D8C8-F162-373F-1A19E52B0B1C}"/>
              </a:ext>
            </a:extLst>
          </p:cNvPr>
          <p:cNvSpPr/>
          <p:nvPr/>
        </p:nvSpPr>
        <p:spPr bwMode="auto">
          <a:xfrm>
            <a:off x="4623758" y="5885782"/>
            <a:ext cx="7147828" cy="656241"/>
          </a:xfrm>
          <a:prstGeom prst="roundRect">
            <a:avLst/>
          </a:prstGeom>
          <a:solidFill>
            <a:schemeClr val="accent1">
              <a:lumMod val="20000"/>
              <a:lumOff val="80000"/>
            </a:schemeClr>
          </a:solidFill>
          <a:ln>
            <a:noFill/>
            <a:headEnd type="none" w="sm" len="sm"/>
            <a:tailEnd type="none" w="sm" len="sm"/>
          </a:ln>
          <a:effectLst>
            <a:outerShdw blurRad="107950" dist="12700" dir="5400000" algn="ctr">
              <a:srgbClr val="000000"/>
            </a:outerShdw>
          </a:effectLst>
          <a:scene3d>
            <a:camera prst="orthographicFront">
              <a:rot lat="0" lon="0" rev="0"/>
            </a:camera>
            <a:lightRig rig="soft" dir="tl">
              <a:rot lat="0" lon="0" rev="0"/>
            </a:lightRig>
          </a:scene3d>
          <a:sp3d contourW="44450" prstMaterial="matte">
            <a:bevelT w="63500" h="63500" prst="artDeco"/>
            <a:contourClr>
              <a:srgbClr val="FFFFFF"/>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GE Inspira Sans"/>
              <a:ea typeface="+mn-ea"/>
              <a:cs typeface="+mn-cs"/>
            </a:endParaRPr>
          </a:p>
        </p:txBody>
      </p:sp>
      <p:sp>
        <p:nvSpPr>
          <p:cNvPr id="131" name="TextBox 130">
            <a:extLst>
              <a:ext uri="{FF2B5EF4-FFF2-40B4-BE49-F238E27FC236}">
                <a16:creationId xmlns:a16="http://schemas.microsoft.com/office/drawing/2014/main" id="{927BF1DB-2D89-5FDA-59A6-A232E4DC81B4}"/>
              </a:ext>
            </a:extLst>
          </p:cNvPr>
          <p:cNvSpPr txBox="1"/>
          <p:nvPr/>
        </p:nvSpPr>
        <p:spPr>
          <a:xfrm>
            <a:off x="9210695" y="2150667"/>
            <a:ext cx="1533345"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00" b="1" dirty="0">
                <a:solidFill>
                  <a:srgbClr val="000000"/>
                </a:solidFill>
                <a:latin typeface="GE Inspira Sans"/>
              </a:rPr>
              <a:t>H</a:t>
            </a:r>
            <a:r>
              <a:rPr lang="en-US" sz="1000" b="1" dirty="0">
                <a:solidFill>
                  <a:srgbClr val="000000"/>
                </a:solidFill>
                <a:latin typeface="GE Inspira Sans"/>
              </a:rPr>
              <a:t>TML Results</a:t>
            </a:r>
            <a:endParaRPr kumimoji="0" lang="en-US" sz="1000" b="1" i="0" u="none" strike="noStrike" kern="1200" cap="none" spc="0" normalizeH="0" baseline="0" noProof="0" dirty="0">
              <a:ln>
                <a:noFill/>
              </a:ln>
              <a:solidFill>
                <a:srgbClr val="000000"/>
              </a:solidFill>
              <a:effectLst/>
              <a:uLnTx/>
              <a:uFillTx/>
              <a:latin typeface="GE Inspira Sans"/>
              <a:ea typeface="+mn-ea"/>
              <a:cs typeface="+mn-cs"/>
            </a:endParaRPr>
          </a:p>
        </p:txBody>
      </p:sp>
      <p:sp>
        <p:nvSpPr>
          <p:cNvPr id="140" name="TextBox 139">
            <a:extLst>
              <a:ext uri="{FF2B5EF4-FFF2-40B4-BE49-F238E27FC236}">
                <a16:creationId xmlns:a16="http://schemas.microsoft.com/office/drawing/2014/main" id="{CDE1BD4D-5CB0-CF1F-CD0E-4D27AF4631DB}"/>
              </a:ext>
            </a:extLst>
          </p:cNvPr>
          <p:cNvSpPr txBox="1"/>
          <p:nvPr/>
        </p:nvSpPr>
        <p:spPr>
          <a:xfrm>
            <a:off x="6449078" y="5554897"/>
            <a:ext cx="1975191"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GE Inspira Sans"/>
                <a:ea typeface="+mn-ea"/>
                <a:cs typeface="+mn-cs"/>
              </a:rPr>
              <a:t>Integrated Applications</a:t>
            </a:r>
            <a:endParaRPr kumimoji="0" lang="en-US" sz="1000" b="1" i="0" u="none" strike="noStrike" kern="1200" cap="none" spc="0" normalizeH="0" baseline="0" noProof="0" dirty="0">
              <a:ln>
                <a:noFill/>
              </a:ln>
              <a:solidFill>
                <a:srgbClr val="000000"/>
              </a:solidFill>
              <a:effectLst/>
              <a:uLnTx/>
              <a:uFillTx/>
              <a:latin typeface="GE Inspira Sans"/>
              <a:ea typeface="+mn-ea"/>
              <a:cs typeface="+mn-cs"/>
            </a:endParaRPr>
          </a:p>
        </p:txBody>
      </p:sp>
      <p:cxnSp>
        <p:nvCxnSpPr>
          <p:cNvPr id="142" name="Connector: Elbow 141">
            <a:extLst>
              <a:ext uri="{FF2B5EF4-FFF2-40B4-BE49-F238E27FC236}">
                <a16:creationId xmlns:a16="http://schemas.microsoft.com/office/drawing/2014/main" id="{E8439B2B-03C8-141F-E0E4-7FD56A1C4D7F}"/>
              </a:ext>
            </a:extLst>
          </p:cNvPr>
          <p:cNvCxnSpPr>
            <a:cxnSpLocks/>
          </p:cNvCxnSpPr>
          <p:nvPr/>
        </p:nvCxnSpPr>
        <p:spPr>
          <a:xfrm rot="5400000">
            <a:off x="2489717" y="3578383"/>
            <a:ext cx="1192716" cy="830854"/>
          </a:xfrm>
          <a:prstGeom prst="bentConnector3">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44" name="Connector: Elbow 143">
            <a:extLst>
              <a:ext uri="{FF2B5EF4-FFF2-40B4-BE49-F238E27FC236}">
                <a16:creationId xmlns:a16="http://schemas.microsoft.com/office/drawing/2014/main" id="{C8214CA0-5FAA-68DC-D1DF-81C4D2120E7B}"/>
              </a:ext>
            </a:extLst>
          </p:cNvPr>
          <p:cNvCxnSpPr>
            <a:cxnSpLocks/>
          </p:cNvCxnSpPr>
          <p:nvPr/>
        </p:nvCxnSpPr>
        <p:spPr>
          <a:xfrm rot="16200000" flipH="1">
            <a:off x="3506535" y="3480416"/>
            <a:ext cx="1366586" cy="90598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95F5E330-B4DD-27B5-7614-52CCB08A1BE1}"/>
              </a:ext>
            </a:extLst>
          </p:cNvPr>
          <p:cNvSpPr/>
          <p:nvPr/>
        </p:nvSpPr>
        <p:spPr>
          <a:xfrm>
            <a:off x="6102675" y="6027298"/>
            <a:ext cx="1166648" cy="335136"/>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t>Alpha</a:t>
            </a:r>
            <a:endParaRPr lang="en-IN" dirty="0"/>
          </a:p>
        </p:txBody>
      </p:sp>
      <p:sp>
        <p:nvSpPr>
          <p:cNvPr id="3" name="Rectangle 2">
            <a:extLst>
              <a:ext uri="{FF2B5EF4-FFF2-40B4-BE49-F238E27FC236}">
                <a16:creationId xmlns:a16="http://schemas.microsoft.com/office/drawing/2014/main" id="{AC073C57-3E1D-2AA1-FDFC-199C657DB301}"/>
              </a:ext>
            </a:extLst>
          </p:cNvPr>
          <p:cNvSpPr/>
          <p:nvPr/>
        </p:nvSpPr>
        <p:spPr>
          <a:xfrm>
            <a:off x="7441992" y="6048622"/>
            <a:ext cx="1166648" cy="335136"/>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err="1"/>
              <a:t>PMx</a:t>
            </a:r>
            <a:endParaRPr lang="en-IN" dirty="0"/>
          </a:p>
        </p:txBody>
      </p:sp>
      <p:sp>
        <p:nvSpPr>
          <p:cNvPr id="4" name="Rectangle 3">
            <a:extLst>
              <a:ext uri="{FF2B5EF4-FFF2-40B4-BE49-F238E27FC236}">
                <a16:creationId xmlns:a16="http://schemas.microsoft.com/office/drawing/2014/main" id="{7C9B8FCE-A680-339B-C180-C20AF605D0B6}"/>
              </a:ext>
            </a:extLst>
          </p:cNvPr>
          <p:cNvSpPr/>
          <p:nvPr/>
        </p:nvSpPr>
        <p:spPr>
          <a:xfrm>
            <a:off x="8965914" y="6046334"/>
            <a:ext cx="1166648" cy="335136"/>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t>ICS</a:t>
            </a:r>
            <a:endParaRPr lang="en-IN" dirty="0"/>
          </a:p>
        </p:txBody>
      </p:sp>
      <p:sp>
        <p:nvSpPr>
          <p:cNvPr id="6" name="Rectangle 5">
            <a:extLst>
              <a:ext uri="{FF2B5EF4-FFF2-40B4-BE49-F238E27FC236}">
                <a16:creationId xmlns:a16="http://schemas.microsoft.com/office/drawing/2014/main" id="{92260740-015F-2A12-36AA-328B92D13880}"/>
              </a:ext>
            </a:extLst>
          </p:cNvPr>
          <p:cNvSpPr/>
          <p:nvPr/>
        </p:nvSpPr>
        <p:spPr>
          <a:xfrm>
            <a:off x="10489836" y="6034539"/>
            <a:ext cx="1166648" cy="335136"/>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t>PCE</a:t>
            </a:r>
            <a:endParaRPr lang="en-IN" dirty="0"/>
          </a:p>
        </p:txBody>
      </p:sp>
      <p:sp>
        <p:nvSpPr>
          <p:cNvPr id="8" name="Rectangle 7">
            <a:extLst>
              <a:ext uri="{FF2B5EF4-FFF2-40B4-BE49-F238E27FC236}">
                <a16:creationId xmlns:a16="http://schemas.microsoft.com/office/drawing/2014/main" id="{5C416DEB-A868-6A06-4876-0A35ECCFB948}"/>
              </a:ext>
            </a:extLst>
          </p:cNvPr>
          <p:cNvSpPr/>
          <p:nvPr/>
        </p:nvSpPr>
        <p:spPr>
          <a:xfrm>
            <a:off x="4763358" y="6038112"/>
            <a:ext cx="1166648" cy="335136"/>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t>SAP</a:t>
            </a:r>
            <a:endParaRPr lang="en-IN" dirty="0"/>
          </a:p>
        </p:txBody>
      </p:sp>
    </p:spTree>
    <p:extLst>
      <p:ext uri="{BB962C8B-B14F-4D97-AF65-F5344CB8AC3E}">
        <p14:creationId xmlns:p14="http://schemas.microsoft.com/office/powerpoint/2010/main" val="29167798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925812-9263-B58B-1ECF-06FD8B1CC7F5}"/>
              </a:ext>
            </a:extLst>
          </p:cNvPr>
          <p:cNvSpPr>
            <a:spLocks noGrp="1"/>
          </p:cNvSpPr>
          <p:nvPr>
            <p:ph type="title"/>
          </p:nvPr>
        </p:nvSpPr>
        <p:spPr>
          <a:xfrm>
            <a:off x="4032419" y="193397"/>
            <a:ext cx="2922903" cy="923364"/>
          </a:xfrm>
        </p:spPr>
        <p:txBody>
          <a:bodyPr/>
          <a:lstStyle/>
          <a:p>
            <a:r>
              <a:rPr lang="en-IN" sz="2000" b="1" dirty="0">
                <a:solidFill>
                  <a:srgbClr val="00B0F0"/>
                </a:solidFill>
                <a:latin typeface="+mn-lt"/>
                <a:ea typeface="ＭＳ Ｐゴシック"/>
              </a:rPr>
              <a:t>Test Execution Report</a:t>
            </a:r>
          </a:p>
        </p:txBody>
      </p:sp>
      <p:sp>
        <p:nvSpPr>
          <p:cNvPr id="8" name="TextBox 7">
            <a:extLst>
              <a:ext uri="{FF2B5EF4-FFF2-40B4-BE49-F238E27FC236}">
                <a16:creationId xmlns:a16="http://schemas.microsoft.com/office/drawing/2014/main" id="{C955544F-C7D4-FEAD-6911-4CEBDEEA8EBD}"/>
              </a:ext>
            </a:extLst>
          </p:cNvPr>
          <p:cNvSpPr txBox="1"/>
          <p:nvPr/>
        </p:nvSpPr>
        <p:spPr>
          <a:xfrm>
            <a:off x="591670" y="1302731"/>
            <a:ext cx="10246375" cy="307777"/>
          </a:xfrm>
          <a:prstGeom prst="rect">
            <a:avLst/>
          </a:prstGeom>
          <a:noFill/>
        </p:spPr>
        <p:txBody>
          <a:bodyPr wrap="square">
            <a:spAutoFit/>
          </a:bodyPr>
          <a:lstStyle/>
          <a:p>
            <a:pPr marL="285750" indent="-285750" algn="l">
              <a:spcAft>
                <a:spcPts val="600"/>
              </a:spcAft>
              <a:buFont typeface="Wingdings" panose="05000000000000000000" pitchFamily="2" charset="2"/>
              <a:buChar char="v"/>
            </a:pPr>
            <a:r>
              <a:rPr lang="en-US" sz="1400" dirty="0">
                <a:solidFill>
                  <a:srgbClr val="000000"/>
                </a:solidFill>
              </a:rPr>
              <a:t>It provides detailed reports and </a:t>
            </a:r>
            <a:r>
              <a:rPr lang="en-US" sz="1400" b="0" i="0" dirty="0">
                <a:solidFill>
                  <a:srgbClr val="3A3A3A"/>
                </a:solidFill>
                <a:effectLst/>
                <a:latin typeface="+mj-lt"/>
              </a:rPr>
              <a:t>logs of the execution status in html files which is very helpful in case of failure of the scrip</a:t>
            </a:r>
            <a:r>
              <a:rPr lang="en-US" sz="1400" b="0" i="0" dirty="0">
                <a:solidFill>
                  <a:srgbClr val="3A3A3A"/>
                </a:solidFill>
                <a:effectLst/>
                <a:latin typeface="Work Sans"/>
              </a:rPr>
              <a:t>t.</a:t>
            </a:r>
          </a:p>
        </p:txBody>
      </p:sp>
      <p:pic>
        <p:nvPicPr>
          <p:cNvPr id="5" name="Picture 4">
            <a:extLst>
              <a:ext uri="{FF2B5EF4-FFF2-40B4-BE49-F238E27FC236}">
                <a16:creationId xmlns:a16="http://schemas.microsoft.com/office/drawing/2014/main" id="{A9ACA6D2-1CED-52C6-1975-A1C7720D7AE5}"/>
              </a:ext>
            </a:extLst>
          </p:cNvPr>
          <p:cNvPicPr>
            <a:picLocks noChangeAspect="1"/>
          </p:cNvPicPr>
          <p:nvPr/>
        </p:nvPicPr>
        <p:blipFill>
          <a:blip r:embed="rId2"/>
          <a:stretch>
            <a:fillRect/>
          </a:stretch>
        </p:blipFill>
        <p:spPr>
          <a:xfrm>
            <a:off x="65124" y="2002591"/>
            <a:ext cx="5623408" cy="3552678"/>
          </a:xfrm>
          <a:prstGeom prst="rect">
            <a:avLst/>
          </a:prstGeom>
        </p:spPr>
      </p:pic>
      <p:pic>
        <p:nvPicPr>
          <p:cNvPr id="9" name="Picture 8">
            <a:extLst>
              <a:ext uri="{FF2B5EF4-FFF2-40B4-BE49-F238E27FC236}">
                <a16:creationId xmlns:a16="http://schemas.microsoft.com/office/drawing/2014/main" id="{F77154EA-BC6B-6F09-9117-948A0BDD1EAC}"/>
              </a:ext>
            </a:extLst>
          </p:cNvPr>
          <p:cNvPicPr>
            <a:picLocks noChangeAspect="1"/>
          </p:cNvPicPr>
          <p:nvPr/>
        </p:nvPicPr>
        <p:blipFill>
          <a:blip r:embed="rId3"/>
          <a:stretch>
            <a:fillRect/>
          </a:stretch>
        </p:blipFill>
        <p:spPr>
          <a:xfrm>
            <a:off x="5688532" y="2002591"/>
            <a:ext cx="5929162" cy="3552678"/>
          </a:xfrm>
          <a:prstGeom prst="rect">
            <a:avLst/>
          </a:prstGeom>
        </p:spPr>
      </p:pic>
    </p:spTree>
    <p:extLst>
      <p:ext uri="{BB962C8B-B14F-4D97-AF65-F5344CB8AC3E}">
        <p14:creationId xmlns:p14="http://schemas.microsoft.com/office/powerpoint/2010/main" val="27032448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B4293-A960-7B1B-61BC-A17BA52D8B6D}"/>
              </a:ext>
            </a:extLst>
          </p:cNvPr>
          <p:cNvSpPr>
            <a:spLocks noGrp="1"/>
          </p:cNvSpPr>
          <p:nvPr>
            <p:ph type="title"/>
          </p:nvPr>
        </p:nvSpPr>
        <p:spPr>
          <a:xfrm>
            <a:off x="5081479" y="103057"/>
            <a:ext cx="2656569" cy="1062180"/>
          </a:xfrm>
        </p:spPr>
        <p:txBody>
          <a:bodyPr/>
          <a:lstStyle/>
          <a:p>
            <a:r>
              <a:rPr lang="en-US" sz="2000" b="1" dirty="0">
                <a:solidFill>
                  <a:srgbClr val="00B0F0"/>
                </a:solidFill>
                <a:latin typeface="+mn-lt"/>
                <a:ea typeface="ＭＳ Ｐゴシック"/>
              </a:rPr>
              <a:t>Project Architecture</a:t>
            </a:r>
            <a:endParaRPr lang="en-IN" sz="2000" b="1" dirty="0">
              <a:solidFill>
                <a:srgbClr val="00B0F0"/>
              </a:solidFill>
              <a:latin typeface="+mn-lt"/>
              <a:ea typeface="ＭＳ Ｐゴシック"/>
            </a:endParaRPr>
          </a:p>
        </p:txBody>
      </p:sp>
      <p:sp>
        <p:nvSpPr>
          <p:cNvPr id="5" name="TextBox 4">
            <a:extLst>
              <a:ext uri="{FF2B5EF4-FFF2-40B4-BE49-F238E27FC236}">
                <a16:creationId xmlns:a16="http://schemas.microsoft.com/office/drawing/2014/main" id="{C2E21634-7951-21BE-F65F-419790C53CFD}"/>
              </a:ext>
            </a:extLst>
          </p:cNvPr>
          <p:cNvSpPr txBox="1"/>
          <p:nvPr/>
        </p:nvSpPr>
        <p:spPr>
          <a:xfrm>
            <a:off x="6409764" y="1827187"/>
            <a:ext cx="5557142" cy="523220"/>
          </a:xfrm>
          <a:prstGeom prst="rect">
            <a:avLst/>
          </a:prstGeom>
          <a:noFill/>
        </p:spPr>
        <p:txBody>
          <a:bodyPr wrap="square" rtlCol="0">
            <a:spAutoFit/>
          </a:bodyPr>
          <a:lstStyle/>
          <a:p>
            <a:endParaRPr lang="en-IN" sz="1400" dirty="0"/>
          </a:p>
          <a:p>
            <a:pPr marL="342900" indent="-342900">
              <a:buFont typeface="+mj-lt"/>
              <a:buAutoNum type="arabicPeriod"/>
            </a:pPr>
            <a:endParaRPr lang="en-IN" sz="1400" dirty="0">
              <a:solidFill>
                <a:schemeClr val="tx2">
                  <a:lumMod val="50000"/>
                </a:schemeClr>
              </a:solidFill>
            </a:endParaRPr>
          </a:p>
        </p:txBody>
      </p:sp>
      <p:pic>
        <p:nvPicPr>
          <p:cNvPr id="7" name="Picture 6">
            <a:extLst>
              <a:ext uri="{FF2B5EF4-FFF2-40B4-BE49-F238E27FC236}">
                <a16:creationId xmlns:a16="http://schemas.microsoft.com/office/drawing/2014/main" id="{9F95DC24-38DC-ACA3-07E0-70CC0EF03B58}"/>
              </a:ext>
            </a:extLst>
          </p:cNvPr>
          <p:cNvPicPr>
            <a:picLocks noChangeAspect="1"/>
          </p:cNvPicPr>
          <p:nvPr/>
        </p:nvPicPr>
        <p:blipFill>
          <a:blip r:embed="rId2"/>
          <a:stretch>
            <a:fillRect/>
          </a:stretch>
        </p:blipFill>
        <p:spPr>
          <a:xfrm>
            <a:off x="2014537" y="1385887"/>
            <a:ext cx="8162925" cy="4086225"/>
          </a:xfrm>
          <a:prstGeom prst="rect">
            <a:avLst/>
          </a:prstGeom>
        </p:spPr>
      </p:pic>
    </p:spTree>
    <p:extLst>
      <p:ext uri="{BB962C8B-B14F-4D97-AF65-F5344CB8AC3E}">
        <p14:creationId xmlns:p14="http://schemas.microsoft.com/office/powerpoint/2010/main" val="7024484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9263" y="-163838"/>
            <a:ext cx="3099331" cy="1062180"/>
          </a:xfrm>
        </p:spPr>
        <p:txBody>
          <a:bodyPr/>
          <a:lstStyle/>
          <a:p>
            <a:r>
              <a:rPr lang="en-US" sz="2000" b="1" dirty="0">
                <a:solidFill>
                  <a:srgbClr val="00B0F0"/>
                </a:solidFill>
                <a:latin typeface="+mn-lt"/>
                <a:ea typeface="ＭＳ Ｐゴシック"/>
              </a:rPr>
              <a:t>Framework Folders</a:t>
            </a:r>
          </a:p>
        </p:txBody>
      </p:sp>
      <p:graphicFrame>
        <p:nvGraphicFramePr>
          <p:cNvPr id="9" name="Diagram 8"/>
          <p:cNvGraphicFramePr/>
          <p:nvPr>
            <p:extLst>
              <p:ext uri="{D42A27DB-BD31-4B8C-83A1-F6EECF244321}">
                <p14:modId xmlns:p14="http://schemas.microsoft.com/office/powerpoint/2010/main" val="2122801439"/>
              </p:ext>
            </p:extLst>
          </p:nvPr>
        </p:nvGraphicFramePr>
        <p:xfrm>
          <a:off x="1180663" y="898342"/>
          <a:ext cx="10061078" cy="48301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865756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                                                               </a:t>
            </a:r>
            <a:br>
              <a:rPr lang="en-US" dirty="0"/>
            </a:br>
            <a:br>
              <a:rPr lang="en-US" dirty="0"/>
            </a:br>
            <a:r>
              <a:rPr lang="en-US" dirty="0"/>
              <a:t>                                                                  </a:t>
            </a:r>
            <a:r>
              <a:rPr lang="en-US" sz="3600" b="1" dirty="0">
                <a:solidFill>
                  <a:schemeClr val="tx1"/>
                </a:solidFill>
              </a:rPr>
              <a:t>Q &amp; A</a:t>
            </a:r>
          </a:p>
        </p:txBody>
      </p:sp>
    </p:spTree>
    <p:extLst>
      <p:ext uri="{BB962C8B-B14F-4D97-AF65-F5344CB8AC3E}">
        <p14:creationId xmlns:p14="http://schemas.microsoft.com/office/powerpoint/2010/main" val="39842995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2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6">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A316F6B-8DFD-4945-8FC6-E393F4D439EB}">
  <we:reference id="wa104380955" version="2.2.1.0" store="en-US" storeType="OMEX"/>
  <we:alternateReferences>
    <we:reference id="WA104380955" version="2.2.1.0" store="WA104380955"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830A5E36C103344AFD0A83E8B43DE37" ma:contentTypeVersion="10" ma:contentTypeDescription="Create a new document." ma:contentTypeScope="" ma:versionID="5b776a2490f80e41d87e850bcdec7050">
  <xsd:schema xmlns:xsd="http://www.w3.org/2001/XMLSchema" xmlns:xs="http://www.w3.org/2001/XMLSchema" xmlns:p="http://schemas.microsoft.com/office/2006/metadata/properties" xmlns:ns2="5d5ff2ad-8f65-4c2b-a74f-83bed9f87d8e" xmlns:ns3="8be2b724-bc69-4f98-bcbc-5c57a5de1309" targetNamespace="http://schemas.microsoft.com/office/2006/metadata/properties" ma:root="true" ma:fieldsID="12a85cc434c127141e016ce87af2a13f" ns2:_="" ns3:_="">
    <xsd:import namespace="5d5ff2ad-8f65-4c2b-a74f-83bed9f87d8e"/>
    <xsd:import namespace="8be2b724-bc69-4f98-bcbc-5c57a5de130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LengthInSeconds" minOccurs="0"/>
                <xsd:element ref="ns2:MediaServiceDateTake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5ff2ad-8f65-4c2b-a74f-83bed9f87d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hidden="true" ma:internalName="MediaServiceKeyPoints" ma:readOnly="true">
      <xsd:simpleType>
        <xsd:restriction base="dms:Note"/>
      </xsd:simpleType>
    </xsd:element>
    <xsd:element name="MediaLengthInSeconds" ma:index="14" nillable="true" ma:displayName="MediaLengthInSeconds" ma:hidden="true" ma:internalName="MediaLengthInSeconds" ma:readOnly="true">
      <xsd:simpleType>
        <xsd:restriction base="dms:Unknown"/>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be2b724-bc69-4f98-bcbc-5c57a5de1309" elementFormDefault="qualified">
    <xsd:import namespace="http://schemas.microsoft.com/office/2006/documentManagement/types"/>
    <xsd:import namespace="http://schemas.microsoft.com/office/infopath/2007/PartnerControls"/>
    <xsd:element name="SharedWithUsers" ma:index="12"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1A4ED86-E5A7-4AB0-B290-F91F34A3DBCC}">
  <ds:schemaRefs>
    <ds:schemaRef ds:uri="http://schemas.microsoft.com/sharepoint/v3/contenttype/forms"/>
  </ds:schemaRefs>
</ds:datastoreItem>
</file>

<file path=customXml/itemProps2.xml><?xml version="1.0" encoding="utf-8"?>
<ds:datastoreItem xmlns:ds="http://schemas.openxmlformats.org/officeDocument/2006/customXml" ds:itemID="{4684D4CC-1151-406A-8C21-6F9E9ABA42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5ff2ad-8f65-4c2b-a74f-83bed9f87d8e"/>
    <ds:schemaRef ds:uri="8be2b724-bc69-4f98-bcbc-5c57a5de130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128ED2F-ABE9-4CC9-9AB8-9657000A1229}">
  <ds:schemaRefs>
    <ds:schemaRef ds:uri="http://purl.org/dc/dcmitype/"/>
    <ds:schemaRef ds:uri="http://schemas.microsoft.com/office/infopath/2007/PartnerControls"/>
    <ds:schemaRef ds:uri="http://schemas.microsoft.com/office/2006/documentManagement/types"/>
    <ds:schemaRef ds:uri="http://schemas.microsoft.com/office/2006/metadata/properties"/>
    <ds:schemaRef ds:uri="575a4e52-6a5e-4964-86af-77f298fa832b"/>
    <ds:schemaRef ds:uri="http://purl.org/dc/terms/"/>
    <ds:schemaRef ds:uri="http://schemas.openxmlformats.org/package/2006/metadata/core-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2013 Capgemini Template</Template>
  <TotalTime>86133</TotalTime>
  <Words>465</Words>
  <Application>Microsoft Office PowerPoint</Application>
  <PresentationFormat>Widescreen</PresentationFormat>
  <Paragraphs>58</Paragraphs>
  <Slides>10</Slides>
  <Notes>0</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25" baseType="lpstr">
      <vt:lpstr>Arial</vt:lpstr>
      <vt:lpstr>Arial Black</vt:lpstr>
      <vt:lpstr>Calibri</vt:lpstr>
      <vt:lpstr>Candara</vt:lpstr>
      <vt:lpstr>Courier New</vt:lpstr>
      <vt:lpstr>GE Inspira Sans</vt:lpstr>
      <vt:lpstr>Helvetica</vt:lpstr>
      <vt:lpstr>Segoe UI</vt:lpstr>
      <vt:lpstr>Verdana</vt:lpstr>
      <vt:lpstr>Wingdings</vt:lpstr>
      <vt:lpstr>Work Sans</vt:lpstr>
      <vt:lpstr>2013 Capgemini Template</vt:lpstr>
      <vt:lpstr>1_2013 Capgemini Template</vt:lpstr>
      <vt:lpstr>2_2013 Capgemini Template</vt:lpstr>
      <vt:lpstr>think-cell Slide</vt:lpstr>
      <vt:lpstr>UFT Hybrid Driven Automation Framework</vt:lpstr>
      <vt:lpstr>       Agenda </vt:lpstr>
      <vt:lpstr>UFT Hybrid Driven Automation Framework - Introduction, Highlights and Benefits</vt:lpstr>
      <vt:lpstr>Hybrid Driven Automation Framework : High level Architecture</vt:lpstr>
      <vt:lpstr>PowerPoint Presentation</vt:lpstr>
      <vt:lpstr>Test Execution Report</vt:lpstr>
      <vt:lpstr>Project Architecture</vt:lpstr>
      <vt:lpstr>Framework Folders</vt:lpstr>
      <vt:lpstr>                                                                                                                                               Q &amp; A</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nsportation Innovations:  Advancing Customer Delivery Performance and Carrier Integration</dc:title>
  <dc:creator>David Williams</dc:creator>
  <cp:lastModifiedBy>P, Kiruthika</cp:lastModifiedBy>
  <cp:revision>1030</cp:revision>
  <dcterms:created xsi:type="dcterms:W3CDTF">2013-01-23T20:29:14Z</dcterms:created>
  <dcterms:modified xsi:type="dcterms:W3CDTF">2024-07-15T13:0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30A5E36C103344AFD0A83E8B43DE37</vt:lpwstr>
  </property>
</Properties>
</file>